
<file path=[Content_Types].xml><?xml version="1.0" encoding="utf-8"?>
<Types xmlns="http://schemas.openxmlformats.org/package/2006/content-types">
  <Default Extension="png" ContentType="image/png"/>
  <Default Extension="tmp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7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02" r:id="rId3"/>
    <p:sldMasterId id="2147483727" r:id="rId4"/>
    <p:sldMasterId id="2147483738" r:id="rId5"/>
    <p:sldMasterId id="2147483752" r:id="rId6"/>
    <p:sldMasterId id="2147483759" r:id="rId7"/>
    <p:sldMasterId id="2147483768" r:id="rId8"/>
  </p:sldMasterIdLst>
  <p:notesMasterIdLst>
    <p:notesMasterId r:id="rId47"/>
  </p:notesMasterIdLst>
  <p:sldIdLst>
    <p:sldId id="257" r:id="rId9"/>
    <p:sldId id="258" r:id="rId10"/>
    <p:sldId id="259" r:id="rId11"/>
    <p:sldId id="260" r:id="rId12"/>
    <p:sldId id="320" r:id="rId13"/>
    <p:sldId id="263" r:id="rId14"/>
    <p:sldId id="333" r:id="rId15"/>
    <p:sldId id="265" r:id="rId16"/>
    <p:sldId id="332" r:id="rId17"/>
    <p:sldId id="267" r:id="rId18"/>
    <p:sldId id="264" r:id="rId19"/>
    <p:sldId id="266" r:id="rId20"/>
    <p:sldId id="269" r:id="rId21"/>
    <p:sldId id="331" r:id="rId22"/>
    <p:sldId id="330" r:id="rId23"/>
    <p:sldId id="319" r:id="rId24"/>
    <p:sldId id="313" r:id="rId25"/>
    <p:sldId id="312" r:id="rId26"/>
    <p:sldId id="311" r:id="rId27"/>
    <p:sldId id="310" r:id="rId28"/>
    <p:sldId id="315" r:id="rId29"/>
    <p:sldId id="314" r:id="rId30"/>
    <p:sldId id="262" r:id="rId31"/>
    <p:sldId id="322" r:id="rId32"/>
    <p:sldId id="323" r:id="rId33"/>
    <p:sldId id="324" r:id="rId34"/>
    <p:sldId id="316" r:id="rId35"/>
    <p:sldId id="317" r:id="rId36"/>
    <p:sldId id="297" r:id="rId37"/>
    <p:sldId id="298" r:id="rId38"/>
    <p:sldId id="282" r:id="rId39"/>
    <p:sldId id="325" r:id="rId40"/>
    <p:sldId id="326" r:id="rId41"/>
    <p:sldId id="327" r:id="rId42"/>
    <p:sldId id="328" r:id="rId43"/>
    <p:sldId id="329" r:id="rId44"/>
    <p:sldId id="334" r:id="rId45"/>
    <p:sldId id="284" r:id="rId46"/>
  </p:sldIdLst>
  <p:sldSz cx="12192000" cy="6858000"/>
  <p:notesSz cx="6797675" cy="9926638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Lučan Jiří" initials="LJ" lastIdx="1" clrIdx="0">
    <p:extLst>
      <p:ext uri="{19B8F6BF-5375-455C-9EA6-DF929625EA0E}">
        <p15:presenceInfo xmlns:p15="http://schemas.microsoft.com/office/powerpoint/2012/main" userId="S-1-5-21-240127028-979645192-923749875-289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0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102" y="7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commentAuthors" Target="commentAuthors.xml"/><Relationship Id="rId8" Type="http://schemas.openxmlformats.org/officeDocument/2006/relationships/slideMaster" Target="slideMasters/slideMaster8.xml"/><Relationship Id="rId51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331</c:v>
                </c:pt>
                <c:pt idx="1">
                  <c:v>306</c:v>
                </c:pt>
                <c:pt idx="2">
                  <c:v>210</c:v>
                </c:pt>
                <c:pt idx="3">
                  <c:v>301</c:v>
                </c:pt>
                <c:pt idx="4">
                  <c:v>275</c:v>
                </c:pt>
                <c:pt idx="5">
                  <c:v>97</c:v>
                </c:pt>
                <c:pt idx="6">
                  <c:v>277</c:v>
                </c:pt>
                <c:pt idx="7">
                  <c:v>431</c:v>
                </c:pt>
                <c:pt idx="8">
                  <c:v>381</c:v>
                </c:pt>
                <c:pt idx="9">
                  <c:v>376</c:v>
                </c:pt>
                <c:pt idx="10">
                  <c:v>481</c:v>
                </c:pt>
                <c:pt idx="11">
                  <c:v>278</c:v>
                </c:pt>
                <c:pt idx="12">
                  <c:v>224</c:v>
                </c:pt>
                <c:pt idx="13">
                  <c:v>283</c:v>
                </c:pt>
                <c:pt idx="14">
                  <c:v>650</c:v>
                </c:pt>
                <c:pt idx="15">
                  <c:v>573</c:v>
                </c:pt>
                <c:pt idx="16">
                  <c:v>464</c:v>
                </c:pt>
                <c:pt idx="17">
                  <c:v>550</c:v>
                </c:pt>
                <c:pt idx="18">
                  <c:v>382</c:v>
                </c:pt>
                <c:pt idx="19">
                  <c:v>302</c:v>
                </c:pt>
                <c:pt idx="20">
                  <c:v>433</c:v>
                </c:pt>
                <c:pt idx="21">
                  <c:v>714</c:v>
                </c:pt>
                <c:pt idx="22">
                  <c:v>880</c:v>
                </c:pt>
                <c:pt idx="23">
                  <c:v>251</c:v>
                </c:pt>
                <c:pt idx="24">
                  <c:v>259</c:v>
                </c:pt>
                <c:pt idx="25">
                  <c:v>301</c:v>
                </c:pt>
                <c:pt idx="26">
                  <c:v>255</c:v>
                </c:pt>
                <c:pt idx="27">
                  <c:v>502</c:v>
                </c:pt>
                <c:pt idx="28">
                  <c:v>1046</c:v>
                </c:pt>
                <c:pt idx="29">
                  <c:v>1082</c:v>
                </c:pt>
                <c:pt idx="30">
                  <c:v>850</c:v>
                </c:pt>
                <c:pt idx="31">
                  <c:v>288</c:v>
                </c:pt>
                <c:pt idx="32">
                  <c:v>384</c:v>
                </c:pt>
                <c:pt idx="33">
                  <c:v>348</c:v>
                </c:pt>
                <c:pt idx="34">
                  <c:v>743</c:v>
                </c:pt>
                <c:pt idx="35">
                  <c:v>1259</c:v>
                </c:pt>
                <c:pt idx="36">
                  <c:v>932</c:v>
                </c:pt>
                <c:pt idx="37">
                  <c:v>1028</c:v>
                </c:pt>
                <c:pt idx="38">
                  <c:v>824</c:v>
                </c:pt>
                <c:pt idx="39">
                  <c:v>453</c:v>
                </c:pt>
                <c:pt idx="40">
                  <c:v>329</c:v>
                </c:pt>
                <c:pt idx="41">
                  <c:v>496</c:v>
                </c:pt>
                <c:pt idx="42">
                  <c:v>732</c:v>
                </c:pt>
                <c:pt idx="43">
                  <c:v>594</c:v>
                </c:pt>
                <c:pt idx="44">
                  <c:v>389</c:v>
                </c:pt>
                <c:pt idx="45">
                  <c:v>484</c:v>
                </c:pt>
                <c:pt idx="46">
                  <c:v>313</c:v>
                </c:pt>
                <c:pt idx="47">
                  <c:v>130</c:v>
                </c:pt>
                <c:pt idx="48">
                  <c:v>280</c:v>
                </c:pt>
                <c:pt idx="49">
                  <c:v>502</c:v>
                </c:pt>
                <c:pt idx="50">
                  <c:v>461</c:v>
                </c:pt>
                <c:pt idx="51">
                  <c:v>220</c:v>
                </c:pt>
                <c:pt idx="52">
                  <c:v>443</c:v>
                </c:pt>
                <c:pt idx="53">
                  <c:v>226</c:v>
                </c:pt>
                <c:pt idx="54">
                  <c:v>130</c:v>
                </c:pt>
                <c:pt idx="55">
                  <c:v>299</c:v>
                </c:pt>
                <c:pt idx="56">
                  <c:v>390</c:v>
                </c:pt>
                <c:pt idx="57">
                  <c:v>331</c:v>
                </c:pt>
                <c:pt idx="58">
                  <c:v>216</c:v>
                </c:pt>
                <c:pt idx="59">
                  <c:v>265</c:v>
                </c:pt>
                <c:pt idx="60">
                  <c:v>207</c:v>
                </c:pt>
                <c:pt idx="61">
                  <c:v>86</c:v>
                </c:pt>
                <c:pt idx="62">
                  <c:v>241</c:v>
                </c:pt>
                <c:pt idx="63">
                  <c:v>274</c:v>
                </c:pt>
                <c:pt idx="64">
                  <c:v>250</c:v>
                </c:pt>
                <c:pt idx="65">
                  <c:v>295</c:v>
                </c:pt>
                <c:pt idx="66">
                  <c:v>230</c:v>
                </c:pt>
                <c:pt idx="67">
                  <c:v>177</c:v>
                </c:pt>
                <c:pt idx="68">
                  <c:v>61</c:v>
                </c:pt>
                <c:pt idx="69">
                  <c:v>140</c:v>
                </c:pt>
                <c:pt idx="70">
                  <c:v>274</c:v>
                </c:pt>
                <c:pt idx="71">
                  <c:v>246</c:v>
                </c:pt>
                <c:pt idx="72">
                  <c:v>187</c:v>
                </c:pt>
                <c:pt idx="73">
                  <c:v>227</c:v>
                </c:pt>
                <c:pt idx="74">
                  <c:v>133</c:v>
                </c:pt>
                <c:pt idx="75">
                  <c:v>72</c:v>
                </c:pt>
                <c:pt idx="76">
                  <c:v>215</c:v>
                </c:pt>
                <c:pt idx="77">
                  <c:v>300</c:v>
                </c:pt>
                <c:pt idx="78">
                  <c:v>240</c:v>
                </c:pt>
                <c:pt idx="79">
                  <c:v>314</c:v>
                </c:pt>
                <c:pt idx="80">
                  <c:v>270</c:v>
                </c:pt>
                <c:pt idx="81">
                  <c:v>223</c:v>
                </c:pt>
                <c:pt idx="82">
                  <c:v>126</c:v>
                </c:pt>
                <c:pt idx="83">
                  <c:v>250</c:v>
                </c:pt>
                <c:pt idx="84">
                  <c:v>428</c:v>
                </c:pt>
                <c:pt idx="85">
                  <c:v>403</c:v>
                </c:pt>
                <c:pt idx="86">
                  <c:v>374</c:v>
                </c:pt>
                <c:pt idx="87">
                  <c:v>370</c:v>
                </c:pt>
                <c:pt idx="88">
                  <c:v>328</c:v>
                </c:pt>
                <c:pt idx="89">
                  <c:v>106</c:v>
                </c:pt>
                <c:pt idx="90">
                  <c:v>321</c:v>
                </c:pt>
                <c:pt idx="91">
                  <c:v>463</c:v>
                </c:pt>
                <c:pt idx="92">
                  <c:v>472</c:v>
                </c:pt>
                <c:pt idx="93">
                  <c:v>380</c:v>
                </c:pt>
                <c:pt idx="94">
                  <c:v>308</c:v>
                </c:pt>
                <c:pt idx="95">
                  <c:v>409</c:v>
                </c:pt>
                <c:pt idx="96">
                  <c:v>166</c:v>
                </c:pt>
                <c:pt idx="97">
                  <c:v>302</c:v>
                </c:pt>
                <c:pt idx="98">
                  <c:v>455</c:v>
                </c:pt>
                <c:pt idx="99">
                  <c:v>497</c:v>
                </c:pt>
                <c:pt idx="100">
                  <c:v>361</c:v>
                </c:pt>
                <c:pt idx="101">
                  <c:v>548</c:v>
                </c:pt>
                <c:pt idx="102">
                  <c:v>380</c:v>
                </c:pt>
                <c:pt idx="103">
                  <c:v>105</c:v>
                </c:pt>
                <c:pt idx="104">
                  <c:v>308</c:v>
                </c:pt>
                <c:pt idx="105">
                  <c:v>544</c:v>
                </c:pt>
                <c:pt idx="106">
                  <c:v>465</c:v>
                </c:pt>
                <c:pt idx="107">
                  <c:v>394</c:v>
                </c:pt>
                <c:pt idx="108">
                  <c:v>331</c:v>
                </c:pt>
                <c:pt idx="109">
                  <c:v>279</c:v>
                </c:pt>
                <c:pt idx="110">
                  <c:v>122</c:v>
                </c:pt>
                <c:pt idx="111">
                  <c:v>236</c:v>
                </c:pt>
                <c:pt idx="112">
                  <c:v>510</c:v>
                </c:pt>
                <c:pt idx="113">
                  <c:v>428</c:v>
                </c:pt>
                <c:pt idx="114">
                  <c:v>371</c:v>
                </c:pt>
                <c:pt idx="115">
                  <c:v>341</c:v>
                </c:pt>
                <c:pt idx="116">
                  <c:v>299</c:v>
                </c:pt>
                <c:pt idx="117">
                  <c:v>138</c:v>
                </c:pt>
                <c:pt idx="118">
                  <c:v>267</c:v>
                </c:pt>
                <c:pt idx="119">
                  <c:v>543</c:v>
                </c:pt>
                <c:pt idx="120">
                  <c:v>395</c:v>
                </c:pt>
                <c:pt idx="121">
                  <c:v>502</c:v>
                </c:pt>
                <c:pt idx="122">
                  <c:v>257</c:v>
                </c:pt>
                <c:pt idx="123">
                  <c:v>176</c:v>
                </c:pt>
                <c:pt idx="124">
                  <c:v>151</c:v>
                </c:pt>
                <c:pt idx="125">
                  <c:v>103</c:v>
                </c:pt>
                <c:pt idx="126">
                  <c:v>178</c:v>
                </c:pt>
                <c:pt idx="127">
                  <c:v>502</c:v>
                </c:pt>
                <c:pt idx="128">
                  <c:v>400</c:v>
                </c:pt>
                <c:pt idx="129">
                  <c:v>303</c:v>
                </c:pt>
                <c:pt idx="130">
                  <c:v>235</c:v>
                </c:pt>
                <c:pt idx="131">
                  <c:v>87</c:v>
                </c:pt>
                <c:pt idx="132">
                  <c:v>188</c:v>
                </c:pt>
                <c:pt idx="133">
                  <c:v>398</c:v>
                </c:pt>
                <c:pt idx="134">
                  <c:v>270</c:v>
                </c:pt>
                <c:pt idx="135">
                  <c:v>263</c:v>
                </c:pt>
                <c:pt idx="136">
                  <c:v>255</c:v>
                </c:pt>
                <c:pt idx="137">
                  <c:v>191</c:v>
                </c:pt>
                <c:pt idx="138">
                  <c:v>108</c:v>
                </c:pt>
                <c:pt idx="139">
                  <c:v>210</c:v>
                </c:pt>
                <c:pt idx="140">
                  <c:v>275</c:v>
                </c:pt>
                <c:pt idx="141">
                  <c:v>343</c:v>
                </c:pt>
                <c:pt idx="142">
                  <c:v>250</c:v>
                </c:pt>
                <c:pt idx="143">
                  <c:v>226</c:v>
                </c:pt>
                <c:pt idx="144">
                  <c:v>145</c:v>
                </c:pt>
                <c:pt idx="145">
                  <c:v>93</c:v>
                </c:pt>
                <c:pt idx="146">
                  <c:v>168</c:v>
                </c:pt>
                <c:pt idx="147">
                  <c:v>244</c:v>
                </c:pt>
                <c:pt idx="148">
                  <c:v>231</c:v>
                </c:pt>
                <c:pt idx="149">
                  <c:v>197</c:v>
                </c:pt>
                <c:pt idx="150">
                  <c:v>148</c:v>
                </c:pt>
                <c:pt idx="151">
                  <c:v>176</c:v>
                </c:pt>
                <c:pt idx="15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66-4E69-AB49-A432FF3743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066-4E69-AB49-A432FF37438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8</c:v>
                </c:pt>
              </c:strCache>
            </c:strRef>
          </c:tx>
          <c:spPr>
            <a:ln w="28575" cap="rnd">
              <a:solidFill>
                <a:srgbClr val="D31145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D$93:$D$274</c:f>
              <c:numCache>
                <c:formatCode>General</c:formatCode>
                <c:ptCount val="182"/>
                <c:pt idx="123">
                  <c:v>482</c:v>
                </c:pt>
                <c:pt idx="124">
                  <c:v>472</c:v>
                </c:pt>
                <c:pt idx="125">
                  <c:v>462</c:v>
                </c:pt>
                <c:pt idx="126">
                  <c:v>452</c:v>
                </c:pt>
                <c:pt idx="127">
                  <c:v>442</c:v>
                </c:pt>
                <c:pt idx="128">
                  <c:v>432</c:v>
                </c:pt>
                <c:pt idx="129">
                  <c:v>423</c:v>
                </c:pt>
                <c:pt idx="130">
                  <c:v>413</c:v>
                </c:pt>
                <c:pt idx="131">
                  <c:v>404</c:v>
                </c:pt>
                <c:pt idx="132">
                  <c:v>395</c:v>
                </c:pt>
                <c:pt idx="133">
                  <c:v>386</c:v>
                </c:pt>
                <c:pt idx="134">
                  <c:v>377</c:v>
                </c:pt>
                <c:pt idx="135">
                  <c:v>369</c:v>
                </c:pt>
                <c:pt idx="136">
                  <c:v>360</c:v>
                </c:pt>
                <c:pt idx="137">
                  <c:v>352</c:v>
                </c:pt>
                <c:pt idx="138">
                  <c:v>344</c:v>
                </c:pt>
                <c:pt idx="139">
                  <c:v>336</c:v>
                </c:pt>
                <c:pt idx="140">
                  <c:v>329</c:v>
                </c:pt>
                <c:pt idx="141">
                  <c:v>323</c:v>
                </c:pt>
                <c:pt idx="142">
                  <c:v>317</c:v>
                </c:pt>
                <c:pt idx="143">
                  <c:v>311</c:v>
                </c:pt>
                <c:pt idx="144">
                  <c:v>306</c:v>
                </c:pt>
                <c:pt idx="145">
                  <c:v>300</c:v>
                </c:pt>
                <c:pt idx="146">
                  <c:v>295</c:v>
                </c:pt>
                <c:pt idx="147">
                  <c:v>293</c:v>
                </c:pt>
                <c:pt idx="148">
                  <c:v>293</c:v>
                </c:pt>
                <c:pt idx="149">
                  <c:v>293</c:v>
                </c:pt>
                <c:pt idx="150">
                  <c:v>293</c:v>
                </c:pt>
                <c:pt idx="151">
                  <c:v>294</c:v>
                </c:pt>
                <c:pt idx="152">
                  <c:v>295</c:v>
                </c:pt>
                <c:pt idx="153">
                  <c:v>296</c:v>
                </c:pt>
                <c:pt idx="154">
                  <c:v>297</c:v>
                </c:pt>
                <c:pt idx="155">
                  <c:v>298</c:v>
                </c:pt>
                <c:pt idx="156">
                  <c:v>299</c:v>
                </c:pt>
                <c:pt idx="157">
                  <c:v>300</c:v>
                </c:pt>
                <c:pt idx="158">
                  <c:v>302</c:v>
                </c:pt>
                <c:pt idx="159">
                  <c:v>303</c:v>
                </c:pt>
                <c:pt idx="160">
                  <c:v>304</c:v>
                </c:pt>
                <c:pt idx="161">
                  <c:v>305</c:v>
                </c:pt>
                <c:pt idx="162">
                  <c:v>307</c:v>
                </c:pt>
                <c:pt idx="163">
                  <c:v>308</c:v>
                </c:pt>
                <c:pt idx="164">
                  <c:v>309</c:v>
                </c:pt>
                <c:pt idx="165">
                  <c:v>311</c:v>
                </c:pt>
                <c:pt idx="166">
                  <c:v>312</c:v>
                </c:pt>
                <c:pt idx="167">
                  <c:v>313</c:v>
                </c:pt>
                <c:pt idx="168">
                  <c:v>314</c:v>
                </c:pt>
                <c:pt idx="169">
                  <c:v>316</c:v>
                </c:pt>
                <c:pt idx="170">
                  <c:v>317</c:v>
                </c:pt>
                <c:pt idx="171">
                  <c:v>318</c:v>
                </c:pt>
                <c:pt idx="172">
                  <c:v>319</c:v>
                </c:pt>
                <c:pt idx="173">
                  <c:v>320</c:v>
                </c:pt>
                <c:pt idx="174">
                  <c:v>321</c:v>
                </c:pt>
                <c:pt idx="175">
                  <c:v>322</c:v>
                </c:pt>
                <c:pt idx="176">
                  <c:v>323</c:v>
                </c:pt>
                <c:pt idx="177">
                  <c:v>324</c:v>
                </c:pt>
                <c:pt idx="178">
                  <c:v>325</c:v>
                </c:pt>
                <c:pt idx="179">
                  <c:v>326</c:v>
                </c:pt>
                <c:pt idx="180">
                  <c:v>327</c:v>
                </c:pt>
                <c:pt idx="181">
                  <c:v>3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066-4E69-AB49-A432FF37438B}"/>
            </c:ext>
          </c:extLst>
        </c:ser>
        <c:ser>
          <c:idx val="5"/>
          <c:order val="3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6600"/>
              </a:solidFill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G$93:$G$274</c:f>
              <c:numCache>
                <c:formatCode>General</c:formatCode>
                <c:ptCount val="182"/>
                <c:pt idx="123">
                  <c:v>430</c:v>
                </c:pt>
                <c:pt idx="124">
                  <c:v>420</c:v>
                </c:pt>
                <c:pt idx="125">
                  <c:v>409</c:v>
                </c:pt>
                <c:pt idx="126">
                  <c:v>399</c:v>
                </c:pt>
                <c:pt idx="127">
                  <c:v>389</c:v>
                </c:pt>
                <c:pt idx="128">
                  <c:v>379</c:v>
                </c:pt>
                <c:pt idx="129">
                  <c:v>370</c:v>
                </c:pt>
                <c:pt idx="130">
                  <c:v>360</c:v>
                </c:pt>
                <c:pt idx="131">
                  <c:v>351</c:v>
                </c:pt>
                <c:pt idx="132">
                  <c:v>342</c:v>
                </c:pt>
                <c:pt idx="133">
                  <c:v>332</c:v>
                </c:pt>
                <c:pt idx="134">
                  <c:v>324</c:v>
                </c:pt>
                <c:pt idx="135">
                  <c:v>315</c:v>
                </c:pt>
                <c:pt idx="136">
                  <c:v>307</c:v>
                </c:pt>
                <c:pt idx="137">
                  <c:v>298</c:v>
                </c:pt>
                <c:pt idx="138">
                  <c:v>290</c:v>
                </c:pt>
                <c:pt idx="139">
                  <c:v>282</c:v>
                </c:pt>
                <c:pt idx="140">
                  <c:v>274</c:v>
                </c:pt>
                <c:pt idx="141">
                  <c:v>268</c:v>
                </c:pt>
                <c:pt idx="142">
                  <c:v>262</c:v>
                </c:pt>
                <c:pt idx="143">
                  <c:v>255</c:v>
                </c:pt>
                <c:pt idx="144">
                  <c:v>250</c:v>
                </c:pt>
                <c:pt idx="145">
                  <c:v>244</c:v>
                </c:pt>
                <c:pt idx="146">
                  <c:v>238</c:v>
                </c:pt>
                <c:pt idx="147">
                  <c:v>235</c:v>
                </c:pt>
                <c:pt idx="148">
                  <c:v>233</c:v>
                </c:pt>
                <c:pt idx="149">
                  <c:v>232</c:v>
                </c:pt>
                <c:pt idx="150">
                  <c:v>231</c:v>
                </c:pt>
                <c:pt idx="151">
                  <c:v>230</c:v>
                </c:pt>
                <c:pt idx="152">
                  <c:v>229</c:v>
                </c:pt>
                <c:pt idx="153">
                  <c:v>228</c:v>
                </c:pt>
                <c:pt idx="154">
                  <c:v>227</c:v>
                </c:pt>
                <c:pt idx="155">
                  <c:v>227</c:v>
                </c:pt>
                <c:pt idx="156">
                  <c:v>226</c:v>
                </c:pt>
                <c:pt idx="157">
                  <c:v>226</c:v>
                </c:pt>
                <c:pt idx="158">
                  <c:v>225</c:v>
                </c:pt>
                <c:pt idx="159">
                  <c:v>224</c:v>
                </c:pt>
                <c:pt idx="160">
                  <c:v>224</c:v>
                </c:pt>
                <c:pt idx="161">
                  <c:v>223</c:v>
                </c:pt>
                <c:pt idx="162">
                  <c:v>222</c:v>
                </c:pt>
                <c:pt idx="163">
                  <c:v>222</c:v>
                </c:pt>
                <c:pt idx="164">
                  <c:v>221</c:v>
                </c:pt>
                <c:pt idx="165">
                  <c:v>220</c:v>
                </c:pt>
                <c:pt idx="166">
                  <c:v>219</c:v>
                </c:pt>
                <c:pt idx="167">
                  <c:v>218</c:v>
                </c:pt>
                <c:pt idx="168">
                  <c:v>217</c:v>
                </c:pt>
                <c:pt idx="169">
                  <c:v>216</c:v>
                </c:pt>
                <c:pt idx="170">
                  <c:v>215</c:v>
                </c:pt>
                <c:pt idx="171">
                  <c:v>214</c:v>
                </c:pt>
                <c:pt idx="172">
                  <c:v>213</c:v>
                </c:pt>
                <c:pt idx="173">
                  <c:v>211</c:v>
                </c:pt>
                <c:pt idx="174">
                  <c:v>210</c:v>
                </c:pt>
                <c:pt idx="175">
                  <c:v>209</c:v>
                </c:pt>
                <c:pt idx="176">
                  <c:v>207</c:v>
                </c:pt>
                <c:pt idx="177">
                  <c:v>206</c:v>
                </c:pt>
                <c:pt idx="178">
                  <c:v>205</c:v>
                </c:pt>
                <c:pt idx="179">
                  <c:v>203</c:v>
                </c:pt>
                <c:pt idx="180">
                  <c:v>202</c:v>
                </c:pt>
                <c:pt idx="181">
                  <c:v>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066-4E69-AB49-A432FF37438B}"/>
            </c:ext>
          </c:extLst>
        </c:ser>
        <c:ser>
          <c:idx val="6"/>
          <c:order val="4"/>
          <c:tx>
            <c:strRef>
              <c:f>Sheet1!$H$1</c:f>
              <c:strCache>
                <c:ptCount val="1"/>
              </c:strCache>
            </c:strRef>
          </c:tx>
          <c:spPr>
            <a:ln w="28575" cap="rnd">
              <a:solidFill>
                <a:srgbClr val="FF66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H$93:$H$274</c:f>
              <c:numCache>
                <c:formatCode>General</c:formatCode>
                <c:ptCount val="182"/>
                <c:pt idx="123">
                  <c:v>374</c:v>
                </c:pt>
                <c:pt idx="124">
                  <c:v>364</c:v>
                </c:pt>
                <c:pt idx="125">
                  <c:v>354</c:v>
                </c:pt>
                <c:pt idx="126">
                  <c:v>344</c:v>
                </c:pt>
                <c:pt idx="127">
                  <c:v>334</c:v>
                </c:pt>
                <c:pt idx="128">
                  <c:v>325</c:v>
                </c:pt>
                <c:pt idx="129">
                  <c:v>315</c:v>
                </c:pt>
                <c:pt idx="130">
                  <c:v>306</c:v>
                </c:pt>
                <c:pt idx="131">
                  <c:v>297</c:v>
                </c:pt>
                <c:pt idx="132">
                  <c:v>288</c:v>
                </c:pt>
                <c:pt idx="133">
                  <c:v>280</c:v>
                </c:pt>
                <c:pt idx="134">
                  <c:v>271</c:v>
                </c:pt>
                <c:pt idx="135">
                  <c:v>263</c:v>
                </c:pt>
                <c:pt idx="136">
                  <c:v>255</c:v>
                </c:pt>
                <c:pt idx="137">
                  <c:v>247</c:v>
                </c:pt>
                <c:pt idx="138">
                  <c:v>239</c:v>
                </c:pt>
                <c:pt idx="139">
                  <c:v>231</c:v>
                </c:pt>
                <c:pt idx="140">
                  <c:v>225</c:v>
                </c:pt>
                <c:pt idx="141">
                  <c:v>219</c:v>
                </c:pt>
                <c:pt idx="142">
                  <c:v>213</c:v>
                </c:pt>
                <c:pt idx="143">
                  <c:v>207</c:v>
                </c:pt>
                <c:pt idx="144">
                  <c:v>202</c:v>
                </c:pt>
                <c:pt idx="145">
                  <c:v>196</c:v>
                </c:pt>
                <c:pt idx="146">
                  <c:v>191</c:v>
                </c:pt>
                <c:pt idx="147">
                  <c:v>188</c:v>
                </c:pt>
                <c:pt idx="148">
                  <c:v>186</c:v>
                </c:pt>
                <c:pt idx="149">
                  <c:v>185</c:v>
                </c:pt>
                <c:pt idx="150">
                  <c:v>183</c:v>
                </c:pt>
                <c:pt idx="151">
                  <c:v>182</c:v>
                </c:pt>
                <c:pt idx="152">
                  <c:v>181</c:v>
                </c:pt>
                <c:pt idx="153">
                  <c:v>180</c:v>
                </c:pt>
                <c:pt idx="154">
                  <c:v>179</c:v>
                </c:pt>
                <c:pt idx="155">
                  <c:v>178</c:v>
                </c:pt>
                <c:pt idx="156">
                  <c:v>177</c:v>
                </c:pt>
                <c:pt idx="157">
                  <c:v>176</c:v>
                </c:pt>
                <c:pt idx="158">
                  <c:v>175</c:v>
                </c:pt>
                <c:pt idx="159">
                  <c:v>173</c:v>
                </c:pt>
                <c:pt idx="160">
                  <c:v>172</c:v>
                </c:pt>
                <c:pt idx="161">
                  <c:v>170</c:v>
                </c:pt>
                <c:pt idx="162">
                  <c:v>168</c:v>
                </c:pt>
                <c:pt idx="163">
                  <c:v>166</c:v>
                </c:pt>
                <c:pt idx="164">
                  <c:v>164</c:v>
                </c:pt>
                <c:pt idx="165">
                  <c:v>161</c:v>
                </c:pt>
                <c:pt idx="166">
                  <c:v>159</c:v>
                </c:pt>
                <c:pt idx="167">
                  <c:v>156</c:v>
                </c:pt>
                <c:pt idx="168">
                  <c:v>153</c:v>
                </c:pt>
                <c:pt idx="169">
                  <c:v>149</c:v>
                </c:pt>
                <c:pt idx="170">
                  <c:v>146</c:v>
                </c:pt>
                <c:pt idx="171">
                  <c:v>143</c:v>
                </c:pt>
                <c:pt idx="172">
                  <c:v>140</c:v>
                </c:pt>
                <c:pt idx="173">
                  <c:v>136</c:v>
                </c:pt>
                <c:pt idx="174">
                  <c:v>133</c:v>
                </c:pt>
                <c:pt idx="175">
                  <c:v>130</c:v>
                </c:pt>
                <c:pt idx="176">
                  <c:v>126</c:v>
                </c:pt>
                <c:pt idx="177">
                  <c:v>123</c:v>
                </c:pt>
                <c:pt idx="178">
                  <c:v>120</c:v>
                </c:pt>
                <c:pt idx="179">
                  <c:v>117</c:v>
                </c:pt>
                <c:pt idx="180">
                  <c:v>115</c:v>
                </c:pt>
                <c:pt idx="181">
                  <c:v>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066-4E69-AB49-A432FF3743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14:$B$280</c:f>
              <c:numCache>
                <c:formatCode>0</c:formatCode>
                <c:ptCount val="67"/>
                <c:pt idx="0">
                  <c:v>502</c:v>
                </c:pt>
                <c:pt idx="1">
                  <c:v>257</c:v>
                </c:pt>
                <c:pt idx="2">
                  <c:v>176</c:v>
                </c:pt>
                <c:pt idx="3">
                  <c:v>151</c:v>
                </c:pt>
                <c:pt idx="4">
                  <c:v>103</c:v>
                </c:pt>
                <c:pt idx="5">
                  <c:v>178</c:v>
                </c:pt>
                <c:pt idx="6">
                  <c:v>502</c:v>
                </c:pt>
                <c:pt idx="7">
                  <c:v>400</c:v>
                </c:pt>
                <c:pt idx="8">
                  <c:v>303</c:v>
                </c:pt>
                <c:pt idx="9">
                  <c:v>235</c:v>
                </c:pt>
                <c:pt idx="10">
                  <c:v>87</c:v>
                </c:pt>
                <c:pt idx="11">
                  <c:v>188</c:v>
                </c:pt>
                <c:pt idx="12">
                  <c:v>398</c:v>
                </c:pt>
                <c:pt idx="13">
                  <c:v>270</c:v>
                </c:pt>
                <c:pt idx="14">
                  <c:v>263</c:v>
                </c:pt>
                <c:pt idx="15">
                  <c:v>255</c:v>
                </c:pt>
                <c:pt idx="16">
                  <c:v>191</c:v>
                </c:pt>
                <c:pt idx="17">
                  <c:v>108</c:v>
                </c:pt>
                <c:pt idx="18">
                  <c:v>210</c:v>
                </c:pt>
                <c:pt idx="19">
                  <c:v>275</c:v>
                </c:pt>
                <c:pt idx="20">
                  <c:v>343</c:v>
                </c:pt>
                <c:pt idx="21">
                  <c:v>250</c:v>
                </c:pt>
                <c:pt idx="22">
                  <c:v>226</c:v>
                </c:pt>
                <c:pt idx="23">
                  <c:v>145</c:v>
                </c:pt>
                <c:pt idx="24">
                  <c:v>93</c:v>
                </c:pt>
                <c:pt idx="25">
                  <c:v>168</c:v>
                </c:pt>
                <c:pt idx="26">
                  <c:v>244</c:v>
                </c:pt>
                <c:pt idx="27">
                  <c:v>231</c:v>
                </c:pt>
                <c:pt idx="28">
                  <c:v>197</c:v>
                </c:pt>
                <c:pt idx="29">
                  <c:v>148</c:v>
                </c:pt>
                <c:pt idx="30">
                  <c:v>176</c:v>
                </c:pt>
                <c:pt idx="31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DE-4E05-AE7C-93989A31D0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101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C$214:$C$280</c:f>
              <c:numCache>
                <c:formatCode>General</c:formatCode>
                <c:ptCount val="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DE-4E05-AE7C-93989A31D07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D$214:$D$280</c:f>
              <c:numCache>
                <c:formatCode>General</c:formatCode>
                <c:ptCount val="67"/>
                <c:pt idx="25">
                  <c:v>259</c:v>
                </c:pt>
                <c:pt idx="26">
                  <c:v>242</c:v>
                </c:pt>
                <c:pt idx="27">
                  <c:v>229</c:v>
                </c:pt>
                <c:pt idx="28">
                  <c:v>218</c:v>
                </c:pt>
                <c:pt idx="29">
                  <c:v>209</c:v>
                </c:pt>
                <c:pt idx="30">
                  <c:v>200</c:v>
                </c:pt>
                <c:pt idx="31">
                  <c:v>190</c:v>
                </c:pt>
                <c:pt idx="32">
                  <c:v>180</c:v>
                </c:pt>
                <c:pt idx="33">
                  <c:v>170</c:v>
                </c:pt>
                <c:pt idx="34">
                  <c:v>162</c:v>
                </c:pt>
                <c:pt idx="35">
                  <c:v>155</c:v>
                </c:pt>
                <c:pt idx="36">
                  <c:v>148</c:v>
                </c:pt>
                <c:pt idx="37">
                  <c:v>140</c:v>
                </c:pt>
                <c:pt idx="38">
                  <c:v>133</c:v>
                </c:pt>
                <c:pt idx="39">
                  <c:v>127</c:v>
                </c:pt>
                <c:pt idx="40">
                  <c:v>121</c:v>
                </c:pt>
                <c:pt idx="41">
                  <c:v>115</c:v>
                </c:pt>
                <c:pt idx="42">
                  <c:v>110</c:v>
                </c:pt>
                <c:pt idx="43">
                  <c:v>105</c:v>
                </c:pt>
                <c:pt idx="44">
                  <c:v>100</c:v>
                </c:pt>
                <c:pt idx="45">
                  <c:v>95</c:v>
                </c:pt>
                <c:pt idx="46">
                  <c:v>90</c:v>
                </c:pt>
                <c:pt idx="47">
                  <c:v>86</c:v>
                </c:pt>
                <c:pt idx="48">
                  <c:v>82</c:v>
                </c:pt>
                <c:pt idx="49">
                  <c:v>78</c:v>
                </c:pt>
                <c:pt idx="50">
                  <c:v>75</c:v>
                </c:pt>
                <c:pt idx="51">
                  <c:v>71</c:v>
                </c:pt>
                <c:pt idx="52">
                  <c:v>68</c:v>
                </c:pt>
                <c:pt idx="53">
                  <c:v>65</c:v>
                </c:pt>
                <c:pt idx="54">
                  <c:v>62</c:v>
                </c:pt>
                <c:pt idx="55">
                  <c:v>59</c:v>
                </c:pt>
                <c:pt idx="56">
                  <c:v>57</c:v>
                </c:pt>
                <c:pt idx="57">
                  <c:v>54</c:v>
                </c:pt>
                <c:pt idx="58">
                  <c:v>52</c:v>
                </c:pt>
                <c:pt idx="59">
                  <c:v>49</c:v>
                </c:pt>
                <c:pt idx="60">
                  <c:v>47</c:v>
                </c:pt>
                <c:pt idx="61">
                  <c:v>45</c:v>
                </c:pt>
                <c:pt idx="62">
                  <c:v>43</c:v>
                </c:pt>
                <c:pt idx="63">
                  <c:v>41</c:v>
                </c:pt>
                <c:pt idx="64">
                  <c:v>40</c:v>
                </c:pt>
                <c:pt idx="65">
                  <c:v>38</c:v>
                </c:pt>
                <c:pt idx="66">
                  <c:v>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CDE-4E05-AE7C-93989A31D07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E$214:$E$280</c:f>
              <c:numCache>
                <c:formatCode>General</c:formatCode>
                <c:ptCount val="67"/>
                <c:pt idx="25">
                  <c:v>259</c:v>
                </c:pt>
                <c:pt idx="26">
                  <c:v>254</c:v>
                </c:pt>
                <c:pt idx="27">
                  <c:v>247</c:v>
                </c:pt>
                <c:pt idx="28">
                  <c:v>240</c:v>
                </c:pt>
                <c:pt idx="29">
                  <c:v>233</c:v>
                </c:pt>
                <c:pt idx="30">
                  <c:v>226</c:v>
                </c:pt>
                <c:pt idx="31">
                  <c:v>220</c:v>
                </c:pt>
                <c:pt idx="32">
                  <c:v>214</c:v>
                </c:pt>
                <c:pt idx="33">
                  <c:v>208</c:v>
                </c:pt>
                <c:pt idx="34">
                  <c:v>203</c:v>
                </c:pt>
                <c:pt idx="35">
                  <c:v>197</c:v>
                </c:pt>
                <c:pt idx="36">
                  <c:v>191</c:v>
                </c:pt>
                <c:pt idx="37">
                  <c:v>186</c:v>
                </c:pt>
                <c:pt idx="38">
                  <c:v>181</c:v>
                </c:pt>
                <c:pt idx="39">
                  <c:v>176</c:v>
                </c:pt>
                <c:pt idx="40">
                  <c:v>172</c:v>
                </c:pt>
                <c:pt idx="41">
                  <c:v>167</c:v>
                </c:pt>
                <c:pt idx="42">
                  <c:v>162</c:v>
                </c:pt>
                <c:pt idx="43">
                  <c:v>158</c:v>
                </c:pt>
                <c:pt idx="44">
                  <c:v>154</c:v>
                </c:pt>
                <c:pt idx="45">
                  <c:v>149</c:v>
                </c:pt>
                <c:pt idx="46">
                  <c:v>146</c:v>
                </c:pt>
                <c:pt idx="47">
                  <c:v>142</c:v>
                </c:pt>
                <c:pt idx="48">
                  <c:v>138</c:v>
                </c:pt>
                <c:pt idx="49">
                  <c:v>134</c:v>
                </c:pt>
                <c:pt idx="50">
                  <c:v>131</c:v>
                </c:pt>
                <c:pt idx="51">
                  <c:v>127</c:v>
                </c:pt>
                <c:pt idx="52">
                  <c:v>124</c:v>
                </c:pt>
                <c:pt idx="53">
                  <c:v>121</c:v>
                </c:pt>
                <c:pt idx="54">
                  <c:v>117</c:v>
                </c:pt>
                <c:pt idx="55">
                  <c:v>114</c:v>
                </c:pt>
                <c:pt idx="56">
                  <c:v>111</c:v>
                </c:pt>
                <c:pt idx="57">
                  <c:v>108</c:v>
                </c:pt>
                <c:pt idx="58">
                  <c:v>106</c:v>
                </c:pt>
                <c:pt idx="59">
                  <c:v>103</c:v>
                </c:pt>
                <c:pt idx="60">
                  <c:v>100</c:v>
                </c:pt>
                <c:pt idx="61">
                  <c:v>98</c:v>
                </c:pt>
                <c:pt idx="62">
                  <c:v>95</c:v>
                </c:pt>
                <c:pt idx="63">
                  <c:v>93</c:v>
                </c:pt>
                <c:pt idx="64">
                  <c:v>90</c:v>
                </c:pt>
                <c:pt idx="65">
                  <c:v>88</c:v>
                </c:pt>
                <c:pt idx="66">
                  <c:v>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CDE-4E05-AE7C-93989A31D07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F$214:$F$280</c:f>
              <c:numCache>
                <c:formatCode>General</c:formatCode>
                <c:ptCount val="67"/>
                <c:pt idx="25">
                  <c:v>259</c:v>
                </c:pt>
                <c:pt idx="26">
                  <c:v>265</c:v>
                </c:pt>
                <c:pt idx="27">
                  <c:v>265</c:v>
                </c:pt>
                <c:pt idx="28">
                  <c:v>262</c:v>
                </c:pt>
                <c:pt idx="29">
                  <c:v>256</c:v>
                </c:pt>
                <c:pt idx="30">
                  <c:v>253</c:v>
                </c:pt>
                <c:pt idx="31">
                  <c:v>251</c:v>
                </c:pt>
                <c:pt idx="32">
                  <c:v>251</c:v>
                </c:pt>
                <c:pt idx="33">
                  <c:v>250</c:v>
                </c:pt>
                <c:pt idx="34">
                  <c:v>247</c:v>
                </c:pt>
                <c:pt idx="35">
                  <c:v>244</c:v>
                </c:pt>
                <c:pt idx="36">
                  <c:v>242</c:v>
                </c:pt>
                <c:pt idx="37">
                  <c:v>240</c:v>
                </c:pt>
                <c:pt idx="38">
                  <c:v>239</c:v>
                </c:pt>
                <c:pt idx="39">
                  <c:v>237</c:v>
                </c:pt>
                <c:pt idx="40">
                  <c:v>235</c:v>
                </c:pt>
                <c:pt idx="41">
                  <c:v>233</c:v>
                </c:pt>
                <c:pt idx="42">
                  <c:v>231</c:v>
                </c:pt>
                <c:pt idx="43">
                  <c:v>229</c:v>
                </c:pt>
                <c:pt idx="44">
                  <c:v>228</c:v>
                </c:pt>
                <c:pt idx="45">
                  <c:v>226</c:v>
                </c:pt>
                <c:pt idx="46">
                  <c:v>224</c:v>
                </c:pt>
                <c:pt idx="47">
                  <c:v>222</c:v>
                </c:pt>
                <c:pt idx="48">
                  <c:v>221</c:v>
                </c:pt>
                <c:pt idx="49">
                  <c:v>219</c:v>
                </c:pt>
                <c:pt idx="50">
                  <c:v>217</c:v>
                </c:pt>
                <c:pt idx="51">
                  <c:v>216</c:v>
                </c:pt>
                <c:pt idx="52">
                  <c:v>214</c:v>
                </c:pt>
                <c:pt idx="53">
                  <c:v>212</c:v>
                </c:pt>
                <c:pt idx="54">
                  <c:v>210</c:v>
                </c:pt>
                <c:pt idx="55">
                  <c:v>209</c:v>
                </c:pt>
                <c:pt idx="56">
                  <c:v>207</c:v>
                </c:pt>
                <c:pt idx="57">
                  <c:v>206</c:v>
                </c:pt>
                <c:pt idx="58">
                  <c:v>204</c:v>
                </c:pt>
                <c:pt idx="59">
                  <c:v>202</c:v>
                </c:pt>
                <c:pt idx="60">
                  <c:v>201</c:v>
                </c:pt>
                <c:pt idx="61">
                  <c:v>199</c:v>
                </c:pt>
                <c:pt idx="62">
                  <c:v>198</c:v>
                </c:pt>
                <c:pt idx="63">
                  <c:v>196</c:v>
                </c:pt>
                <c:pt idx="64">
                  <c:v>195</c:v>
                </c:pt>
                <c:pt idx="65">
                  <c:v>193</c:v>
                </c:pt>
                <c:pt idx="66">
                  <c:v>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CDE-4E05-AE7C-93989A31D07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G$214:$G$280</c:f>
              <c:numCache>
                <c:formatCode>General</c:formatCode>
                <c:ptCount val="67"/>
                <c:pt idx="25">
                  <c:v>259</c:v>
                </c:pt>
                <c:pt idx="26">
                  <c:v>283</c:v>
                </c:pt>
                <c:pt idx="27">
                  <c:v>293</c:v>
                </c:pt>
                <c:pt idx="28">
                  <c:v>294</c:v>
                </c:pt>
                <c:pt idx="29">
                  <c:v>292</c:v>
                </c:pt>
                <c:pt idx="30">
                  <c:v>295</c:v>
                </c:pt>
                <c:pt idx="31">
                  <c:v>302</c:v>
                </c:pt>
                <c:pt idx="32">
                  <c:v>310</c:v>
                </c:pt>
                <c:pt idx="33">
                  <c:v>320</c:v>
                </c:pt>
                <c:pt idx="34">
                  <c:v>324</c:v>
                </c:pt>
                <c:pt idx="35">
                  <c:v>327</c:v>
                </c:pt>
                <c:pt idx="36">
                  <c:v>331</c:v>
                </c:pt>
                <c:pt idx="37">
                  <c:v>339</c:v>
                </c:pt>
                <c:pt idx="38">
                  <c:v>347</c:v>
                </c:pt>
                <c:pt idx="39">
                  <c:v>354</c:v>
                </c:pt>
                <c:pt idx="40">
                  <c:v>360</c:v>
                </c:pt>
                <c:pt idx="41">
                  <c:v>365</c:v>
                </c:pt>
                <c:pt idx="42">
                  <c:v>371</c:v>
                </c:pt>
                <c:pt idx="43">
                  <c:v>379</c:v>
                </c:pt>
                <c:pt idx="44">
                  <c:v>387</c:v>
                </c:pt>
                <c:pt idx="45">
                  <c:v>394</c:v>
                </c:pt>
                <c:pt idx="46">
                  <c:v>400</c:v>
                </c:pt>
                <c:pt idx="47">
                  <c:v>407</c:v>
                </c:pt>
                <c:pt idx="48">
                  <c:v>415</c:v>
                </c:pt>
                <c:pt idx="49">
                  <c:v>423</c:v>
                </c:pt>
                <c:pt idx="50">
                  <c:v>431</c:v>
                </c:pt>
                <c:pt idx="51">
                  <c:v>438</c:v>
                </c:pt>
                <c:pt idx="52">
                  <c:v>446</c:v>
                </c:pt>
                <c:pt idx="53">
                  <c:v>454</c:v>
                </c:pt>
                <c:pt idx="54">
                  <c:v>462</c:v>
                </c:pt>
                <c:pt idx="55">
                  <c:v>471</c:v>
                </c:pt>
                <c:pt idx="56">
                  <c:v>479</c:v>
                </c:pt>
                <c:pt idx="57">
                  <c:v>488</c:v>
                </c:pt>
                <c:pt idx="58">
                  <c:v>497</c:v>
                </c:pt>
                <c:pt idx="59">
                  <c:v>506</c:v>
                </c:pt>
                <c:pt idx="60">
                  <c:v>515</c:v>
                </c:pt>
                <c:pt idx="61">
                  <c:v>524</c:v>
                </c:pt>
                <c:pt idx="62">
                  <c:v>534</c:v>
                </c:pt>
                <c:pt idx="63">
                  <c:v>543</c:v>
                </c:pt>
                <c:pt idx="64">
                  <c:v>553</c:v>
                </c:pt>
                <c:pt idx="65">
                  <c:v>563</c:v>
                </c:pt>
                <c:pt idx="66">
                  <c:v>5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CDE-4E05-AE7C-93989A31D0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43601102552928E-2"/>
          <c:y val="5.9959750583729675E-2"/>
          <c:w val="0.88411671447782458"/>
          <c:h val="0.9108537656397832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Ústecký kraj</c:v>
                </c:pt>
                <c:pt idx="3">
                  <c:v>Moravskoslezský kraj</c:v>
                </c:pt>
                <c:pt idx="4">
                  <c:v>Olomoucký kraj</c:v>
                </c:pt>
                <c:pt idx="5">
                  <c:v>Jihomoravský kraj</c:v>
                </c:pt>
                <c:pt idx="6">
                  <c:v>Kraj Vysočina</c:v>
                </c:pt>
                <c:pt idx="7">
                  <c:v>ČR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Pardubic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40.32065641870699</c:v>
                </c:pt>
                <c:pt idx="1">
                  <c:v>313.31365678025901</c:v>
                </c:pt>
                <c:pt idx="2">
                  <c:v>337.529614538987</c:v>
                </c:pt>
                <c:pt idx="3">
                  <c:v>230.64640132473801</c:v>
                </c:pt>
                <c:pt idx="4">
                  <c:v>239.39305238008501</c:v>
                </c:pt>
                <c:pt idx="5">
                  <c:v>238.592805806093</c:v>
                </c:pt>
                <c:pt idx="6">
                  <c:v>206.35017153348301</c:v>
                </c:pt>
                <c:pt idx="7">
                  <c:v>234.65628520978001</c:v>
                </c:pt>
                <c:pt idx="8">
                  <c:v>244.740427147849</c:v>
                </c:pt>
                <c:pt idx="9">
                  <c:v>276.31905159007403</c:v>
                </c:pt>
                <c:pt idx="10">
                  <c:v>264.60695439882699</c:v>
                </c:pt>
                <c:pt idx="11">
                  <c:v>181.23096602901001</c:v>
                </c:pt>
                <c:pt idx="12">
                  <c:v>209.69691421751801</c:v>
                </c:pt>
                <c:pt idx="13">
                  <c:v>139.21946462139701</c:v>
                </c:pt>
                <c:pt idx="14">
                  <c:v>99.43528900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Ústecký kraj</c:v>
                </c:pt>
                <c:pt idx="3">
                  <c:v>Moravskoslezský kraj</c:v>
                </c:pt>
                <c:pt idx="4">
                  <c:v>Olomoucký kraj</c:v>
                </c:pt>
                <c:pt idx="5">
                  <c:v>Jihomoravský kraj</c:v>
                </c:pt>
                <c:pt idx="6">
                  <c:v>Kraj Vysočina</c:v>
                </c:pt>
                <c:pt idx="7">
                  <c:v>ČR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Pardubic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12.855438542283</c:v>
                </c:pt>
                <c:pt idx="1">
                  <c:v>200.75052438893701</c:v>
                </c:pt>
                <c:pt idx="2">
                  <c:v>201.10479740305601</c:v>
                </c:pt>
                <c:pt idx="3">
                  <c:v>176.087573998012</c:v>
                </c:pt>
                <c:pt idx="4">
                  <c:v>202.36861466895499</c:v>
                </c:pt>
                <c:pt idx="5">
                  <c:v>156.37728200511901</c:v>
                </c:pt>
                <c:pt idx="6">
                  <c:v>156.72413218179901</c:v>
                </c:pt>
                <c:pt idx="7">
                  <c:v>153.086715755532</c:v>
                </c:pt>
                <c:pt idx="8">
                  <c:v>133.199436014095</c:v>
                </c:pt>
                <c:pt idx="9">
                  <c:v>155.513984989519</c:v>
                </c:pt>
                <c:pt idx="10">
                  <c:v>186.16237644978901</c:v>
                </c:pt>
                <c:pt idx="11">
                  <c:v>112.061147327938</c:v>
                </c:pt>
                <c:pt idx="12">
                  <c:v>101.712327025473</c:v>
                </c:pt>
                <c:pt idx="13">
                  <c:v>60.002139049065001</c:v>
                </c:pt>
                <c:pt idx="14">
                  <c:v>64.140851953411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01.05.2021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Ústecký kraj</c:v>
                </c:pt>
                <c:pt idx="3">
                  <c:v>Moravskoslezský kraj</c:v>
                </c:pt>
                <c:pt idx="4">
                  <c:v>Olomoucký kraj</c:v>
                </c:pt>
                <c:pt idx="5">
                  <c:v>Jihomoravský kraj</c:v>
                </c:pt>
                <c:pt idx="6">
                  <c:v>Kraj Vysočina</c:v>
                </c:pt>
                <c:pt idx="7">
                  <c:v>ČR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Pardubic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21.190273879719</c:v>
                </c:pt>
                <c:pt idx="1">
                  <c:v>104.80015774364399</c:v>
                </c:pt>
                <c:pt idx="2">
                  <c:v>97.446297954236002</c:v>
                </c:pt>
                <c:pt idx="3">
                  <c:v>88.876746194833999</c:v>
                </c:pt>
                <c:pt idx="4">
                  <c:v>84.966337824259995</c:v>
                </c:pt>
                <c:pt idx="5">
                  <c:v>83.306137892212007</c:v>
                </c:pt>
                <c:pt idx="6">
                  <c:v>78.852441973821001</c:v>
                </c:pt>
                <c:pt idx="7">
                  <c:v>72.461606523095995</c:v>
                </c:pt>
                <c:pt idx="8">
                  <c:v>61.293399011364002</c:v>
                </c:pt>
                <c:pt idx="9">
                  <c:v>60.627915887218002</c:v>
                </c:pt>
                <c:pt idx="10">
                  <c:v>56.250502236627</c:v>
                </c:pt>
                <c:pt idx="11">
                  <c:v>51.650825318267998</c:v>
                </c:pt>
                <c:pt idx="12">
                  <c:v>42.888697895740997</c:v>
                </c:pt>
                <c:pt idx="13">
                  <c:v>26.647475650189001</c:v>
                </c:pt>
                <c:pt idx="14">
                  <c:v>22.05902315858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01.05.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Ústecký kraj</c:v>
                </c:pt>
                <c:pt idx="3">
                  <c:v>Moravskoslezský kraj</c:v>
                </c:pt>
                <c:pt idx="4">
                  <c:v>Olomoucký kraj</c:v>
                </c:pt>
                <c:pt idx="5">
                  <c:v>Jihomoravský kraj</c:v>
                </c:pt>
                <c:pt idx="6">
                  <c:v>Kraj Vysočina</c:v>
                </c:pt>
                <c:pt idx="7">
                  <c:v>ČR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Pardubic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21.190273879719</c:v>
                </c:pt>
                <c:pt idx="1">
                  <c:v>104.80015774364399</c:v>
                </c:pt>
                <c:pt idx="2">
                  <c:v>97.446297954236002</c:v>
                </c:pt>
                <c:pt idx="3">
                  <c:v>88.876746194833999</c:v>
                </c:pt>
                <c:pt idx="4">
                  <c:v>84.966337824259995</c:v>
                </c:pt>
                <c:pt idx="5">
                  <c:v>83.306137892212007</c:v>
                </c:pt>
                <c:pt idx="6">
                  <c:v>78.852441973821001</c:v>
                </c:pt>
                <c:pt idx="7">
                  <c:v>72.461606523095995</c:v>
                </c:pt>
                <c:pt idx="8">
                  <c:v>61.293399011364002</c:v>
                </c:pt>
                <c:pt idx="9">
                  <c:v>60.627915887218002</c:v>
                </c:pt>
                <c:pt idx="10">
                  <c:v>56.250502236627</c:v>
                </c:pt>
                <c:pt idx="11">
                  <c:v>51.650825318267998</c:v>
                </c:pt>
                <c:pt idx="12">
                  <c:v>42.888697895740997</c:v>
                </c:pt>
                <c:pt idx="13">
                  <c:v>26.647475650189001</c:v>
                </c:pt>
                <c:pt idx="14">
                  <c:v>22.05902315858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206</c:v>
                </c:pt>
                <c:pt idx="1">
                  <c:v>6380</c:v>
                </c:pt>
                <c:pt idx="2">
                  <c:v>6229</c:v>
                </c:pt>
                <c:pt idx="3">
                  <c:v>6325</c:v>
                </c:pt>
                <c:pt idx="4">
                  <c:v>6393</c:v>
                </c:pt>
                <c:pt idx="5">
                  <c:v>7068</c:v>
                </c:pt>
                <c:pt idx="6">
                  <c:v>6715</c:v>
                </c:pt>
                <c:pt idx="7">
                  <c:v>6238</c:v>
                </c:pt>
                <c:pt idx="8">
                  <c:v>5921</c:v>
                </c:pt>
                <c:pt idx="9">
                  <c:v>5286</c:v>
                </c:pt>
                <c:pt idx="10">
                  <c:v>5241</c:v>
                </c:pt>
                <c:pt idx="11">
                  <c:v>5532</c:v>
                </c:pt>
                <c:pt idx="12">
                  <c:v>5224</c:v>
                </c:pt>
                <c:pt idx="13">
                  <c:v>4925</c:v>
                </c:pt>
                <c:pt idx="14">
                  <c:v>4667</c:v>
                </c:pt>
                <c:pt idx="15">
                  <c:v>4421</c:v>
                </c:pt>
                <c:pt idx="16">
                  <c:v>4021</c:v>
                </c:pt>
                <c:pt idx="17">
                  <c:v>4028</c:v>
                </c:pt>
                <c:pt idx="18">
                  <c:v>4304</c:v>
                </c:pt>
                <c:pt idx="19">
                  <c:v>4137</c:v>
                </c:pt>
                <c:pt idx="20">
                  <c:v>3975</c:v>
                </c:pt>
                <c:pt idx="21">
                  <c:v>3741</c:v>
                </c:pt>
                <c:pt idx="22">
                  <c:v>3536</c:v>
                </c:pt>
                <c:pt idx="23">
                  <c:v>3183</c:v>
                </c:pt>
                <c:pt idx="24">
                  <c:v>3183</c:v>
                </c:pt>
                <c:pt idx="25">
                  <c:v>3337</c:v>
                </c:pt>
                <c:pt idx="26">
                  <c:v>3164</c:v>
                </c:pt>
                <c:pt idx="27">
                  <c:v>3011</c:v>
                </c:pt>
                <c:pt idx="28">
                  <c:v>2836</c:v>
                </c:pt>
                <c:pt idx="29">
                  <c:v>2659</c:v>
                </c:pt>
                <c:pt idx="30">
                  <c:v>2472</c:v>
                </c:pt>
                <c:pt idx="31">
                  <c:v>2494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13-4D92-8453-985B04014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13-4D92-8453-985B04014ED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13-4D92-8453-985B04014ED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13-4D92-8453-985B04014EDD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464</c:v>
                </c:pt>
                <c:pt idx="1">
                  <c:v>9464</c:v>
                </c:pt>
                <c:pt idx="2">
                  <c:v>9464</c:v>
                </c:pt>
                <c:pt idx="3">
                  <c:v>9464</c:v>
                </c:pt>
                <c:pt idx="4">
                  <c:v>9464</c:v>
                </c:pt>
                <c:pt idx="5">
                  <c:v>9464</c:v>
                </c:pt>
                <c:pt idx="6">
                  <c:v>9464</c:v>
                </c:pt>
                <c:pt idx="7">
                  <c:v>9464</c:v>
                </c:pt>
                <c:pt idx="8">
                  <c:v>9464</c:v>
                </c:pt>
                <c:pt idx="9">
                  <c:v>9464</c:v>
                </c:pt>
                <c:pt idx="10">
                  <c:v>9464</c:v>
                </c:pt>
                <c:pt idx="11">
                  <c:v>9464</c:v>
                </c:pt>
                <c:pt idx="12">
                  <c:v>9464</c:v>
                </c:pt>
                <c:pt idx="13">
                  <c:v>9464</c:v>
                </c:pt>
                <c:pt idx="14">
                  <c:v>9464</c:v>
                </c:pt>
                <c:pt idx="15">
                  <c:v>9464</c:v>
                </c:pt>
                <c:pt idx="16">
                  <c:v>9464</c:v>
                </c:pt>
                <c:pt idx="17">
                  <c:v>9464</c:v>
                </c:pt>
                <c:pt idx="18">
                  <c:v>9464</c:v>
                </c:pt>
                <c:pt idx="19">
                  <c:v>9464</c:v>
                </c:pt>
                <c:pt idx="20">
                  <c:v>9464</c:v>
                </c:pt>
                <c:pt idx="21">
                  <c:v>9464</c:v>
                </c:pt>
                <c:pt idx="22">
                  <c:v>9464</c:v>
                </c:pt>
                <c:pt idx="23">
                  <c:v>9464</c:v>
                </c:pt>
                <c:pt idx="24">
                  <c:v>9464</c:v>
                </c:pt>
                <c:pt idx="25">
                  <c:v>9464</c:v>
                </c:pt>
                <c:pt idx="26">
                  <c:v>9464</c:v>
                </c:pt>
                <c:pt idx="27">
                  <c:v>9464</c:v>
                </c:pt>
                <c:pt idx="28">
                  <c:v>9464</c:v>
                </c:pt>
                <c:pt idx="29">
                  <c:v>9464</c:v>
                </c:pt>
                <c:pt idx="30">
                  <c:v>9464</c:v>
                </c:pt>
                <c:pt idx="31">
                  <c:v>9464</c:v>
                </c:pt>
                <c:pt idx="32">
                  <c:v>9464</c:v>
                </c:pt>
                <c:pt idx="33">
                  <c:v>9464</c:v>
                </c:pt>
                <c:pt idx="34">
                  <c:v>9464</c:v>
                </c:pt>
                <c:pt idx="35">
                  <c:v>9464</c:v>
                </c:pt>
                <c:pt idx="36">
                  <c:v>9464</c:v>
                </c:pt>
                <c:pt idx="37">
                  <c:v>9464</c:v>
                </c:pt>
                <c:pt idx="38">
                  <c:v>9464</c:v>
                </c:pt>
                <c:pt idx="39">
                  <c:v>9464</c:v>
                </c:pt>
                <c:pt idx="40">
                  <c:v>9464</c:v>
                </c:pt>
                <c:pt idx="41">
                  <c:v>9464</c:v>
                </c:pt>
                <c:pt idx="42">
                  <c:v>9464</c:v>
                </c:pt>
                <c:pt idx="43">
                  <c:v>9464</c:v>
                </c:pt>
                <c:pt idx="44">
                  <c:v>9464</c:v>
                </c:pt>
                <c:pt idx="45">
                  <c:v>9464</c:v>
                </c:pt>
                <c:pt idx="46">
                  <c:v>9464</c:v>
                </c:pt>
                <c:pt idx="47">
                  <c:v>9464</c:v>
                </c:pt>
                <c:pt idx="48">
                  <c:v>9464</c:v>
                </c:pt>
                <c:pt idx="49">
                  <c:v>9464</c:v>
                </c:pt>
                <c:pt idx="50">
                  <c:v>9464</c:v>
                </c:pt>
                <c:pt idx="51">
                  <c:v>9464</c:v>
                </c:pt>
                <c:pt idx="52">
                  <c:v>9464</c:v>
                </c:pt>
                <c:pt idx="53">
                  <c:v>9464</c:v>
                </c:pt>
                <c:pt idx="54">
                  <c:v>9464</c:v>
                </c:pt>
                <c:pt idx="55">
                  <c:v>9464</c:v>
                </c:pt>
                <c:pt idx="56">
                  <c:v>9464</c:v>
                </c:pt>
                <c:pt idx="57">
                  <c:v>9464</c:v>
                </c:pt>
                <c:pt idx="58">
                  <c:v>9464</c:v>
                </c:pt>
                <c:pt idx="59">
                  <c:v>9464</c:v>
                </c:pt>
                <c:pt idx="60">
                  <c:v>9464</c:v>
                </c:pt>
                <c:pt idx="61">
                  <c:v>9464</c:v>
                </c:pt>
                <c:pt idx="62">
                  <c:v>9464</c:v>
                </c:pt>
                <c:pt idx="63">
                  <c:v>9464</c:v>
                </c:pt>
                <c:pt idx="64">
                  <c:v>9464</c:v>
                </c:pt>
                <c:pt idx="65">
                  <c:v>9464</c:v>
                </c:pt>
                <c:pt idx="66">
                  <c:v>9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13-4D92-8453-985B04014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08</c:v>
                </c:pt>
                <c:pt idx="1">
                  <c:v>1427</c:v>
                </c:pt>
                <c:pt idx="2">
                  <c:v>1402</c:v>
                </c:pt>
                <c:pt idx="3">
                  <c:v>1382</c:v>
                </c:pt>
                <c:pt idx="4">
                  <c:v>1348</c:v>
                </c:pt>
                <c:pt idx="5">
                  <c:v>1398</c:v>
                </c:pt>
                <c:pt idx="6">
                  <c:v>1365</c:v>
                </c:pt>
                <c:pt idx="7">
                  <c:v>1316</c:v>
                </c:pt>
                <c:pt idx="8">
                  <c:v>1238</c:v>
                </c:pt>
                <c:pt idx="9">
                  <c:v>1222</c:v>
                </c:pt>
                <c:pt idx="10">
                  <c:v>1205</c:v>
                </c:pt>
                <c:pt idx="11">
                  <c:v>1191</c:v>
                </c:pt>
                <c:pt idx="12">
                  <c:v>1163</c:v>
                </c:pt>
                <c:pt idx="13">
                  <c:v>1119</c:v>
                </c:pt>
                <c:pt idx="14">
                  <c:v>1041</c:v>
                </c:pt>
                <c:pt idx="15">
                  <c:v>1019</c:v>
                </c:pt>
                <c:pt idx="16">
                  <c:v>978</c:v>
                </c:pt>
                <c:pt idx="17">
                  <c:v>981</c:v>
                </c:pt>
                <c:pt idx="18">
                  <c:v>999</c:v>
                </c:pt>
                <c:pt idx="19">
                  <c:v>949</c:v>
                </c:pt>
                <c:pt idx="20">
                  <c:v>915</c:v>
                </c:pt>
                <c:pt idx="21">
                  <c:v>838</c:v>
                </c:pt>
                <c:pt idx="22">
                  <c:v>791</c:v>
                </c:pt>
                <c:pt idx="23">
                  <c:v>756</c:v>
                </c:pt>
                <c:pt idx="24">
                  <c:v>766</c:v>
                </c:pt>
                <c:pt idx="25">
                  <c:v>744</c:v>
                </c:pt>
                <c:pt idx="26">
                  <c:v>715</c:v>
                </c:pt>
                <c:pt idx="27">
                  <c:v>689</c:v>
                </c:pt>
                <c:pt idx="28">
                  <c:v>629</c:v>
                </c:pt>
                <c:pt idx="29">
                  <c:v>562</c:v>
                </c:pt>
                <c:pt idx="30">
                  <c:v>543</c:v>
                </c:pt>
                <c:pt idx="31">
                  <c:v>549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2-49ED-8780-89C495F1A7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32-49ED-8780-89C495F1A7F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2-49ED-8780-89C495F1A7F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2-49ED-8780-89C495F1A7FD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2-49ED-8780-89C495F1A7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1170</c:v>
                </c:pt>
                <c:pt idx="1">
                  <c:v>1213</c:v>
                </c:pt>
                <c:pt idx="2">
                  <c:v>1241</c:v>
                </c:pt>
                <c:pt idx="3">
                  <c:v>1266</c:v>
                </c:pt>
                <c:pt idx="4">
                  <c:v>1270</c:v>
                </c:pt>
                <c:pt idx="5">
                  <c:v>1269</c:v>
                </c:pt>
                <c:pt idx="6">
                  <c:v>1282</c:v>
                </c:pt>
                <c:pt idx="7">
                  <c:v>1362</c:v>
                </c:pt>
                <c:pt idx="8">
                  <c:v>1391</c:v>
                </c:pt>
                <c:pt idx="9">
                  <c:v>1410</c:v>
                </c:pt>
                <c:pt idx="10">
                  <c:v>1464</c:v>
                </c:pt>
                <c:pt idx="11">
                  <c:v>1439</c:v>
                </c:pt>
                <c:pt idx="12">
                  <c:v>1466</c:v>
                </c:pt>
                <c:pt idx="13">
                  <c:v>1503</c:v>
                </c:pt>
                <c:pt idx="14">
                  <c:v>1586</c:v>
                </c:pt>
                <c:pt idx="15">
                  <c:v>1598</c:v>
                </c:pt>
                <c:pt idx="16">
                  <c:v>1625</c:v>
                </c:pt>
                <c:pt idx="17">
                  <c:v>1651</c:v>
                </c:pt>
                <c:pt idx="18">
                  <c:v>1671</c:v>
                </c:pt>
                <c:pt idx="19">
                  <c:v>1675</c:v>
                </c:pt>
                <c:pt idx="20">
                  <c:v>1677</c:v>
                </c:pt>
                <c:pt idx="21">
                  <c:v>1773</c:v>
                </c:pt>
                <c:pt idx="22">
                  <c:v>1802</c:v>
                </c:pt>
                <c:pt idx="23">
                  <c:v>1831</c:v>
                </c:pt>
                <c:pt idx="24">
                  <c:v>1821</c:v>
                </c:pt>
                <c:pt idx="25">
                  <c:v>1833</c:v>
                </c:pt>
                <c:pt idx="26">
                  <c:v>1782</c:v>
                </c:pt>
                <c:pt idx="27">
                  <c:v>1829</c:v>
                </c:pt>
                <c:pt idx="28">
                  <c:v>1886</c:v>
                </c:pt>
                <c:pt idx="29">
                  <c:v>1893</c:v>
                </c:pt>
                <c:pt idx="30">
                  <c:v>1861</c:v>
                </c:pt>
                <c:pt idx="31">
                  <c:v>1858</c:v>
                </c:pt>
                <c:pt idx="32">
                  <c:v>1817</c:v>
                </c:pt>
                <c:pt idx="33">
                  <c:v>1778</c:v>
                </c:pt>
                <c:pt idx="34">
                  <c:v>1802</c:v>
                </c:pt>
                <c:pt idx="35">
                  <c:v>1822</c:v>
                </c:pt>
                <c:pt idx="36">
                  <c:v>1774</c:v>
                </c:pt>
                <c:pt idx="37">
                  <c:v>1742</c:v>
                </c:pt>
                <c:pt idx="38">
                  <c:v>1741</c:v>
                </c:pt>
                <c:pt idx="39">
                  <c:v>1679</c:v>
                </c:pt>
                <c:pt idx="40">
                  <c:v>1644</c:v>
                </c:pt>
                <c:pt idx="41">
                  <c:v>1654</c:v>
                </c:pt>
                <c:pt idx="42">
                  <c:v>1664</c:v>
                </c:pt>
                <c:pt idx="43">
                  <c:v>1614</c:v>
                </c:pt>
                <c:pt idx="44">
                  <c:v>1555</c:v>
                </c:pt>
                <c:pt idx="45">
                  <c:v>1508</c:v>
                </c:pt>
                <c:pt idx="46">
                  <c:v>1427</c:v>
                </c:pt>
                <c:pt idx="47">
                  <c:v>1402</c:v>
                </c:pt>
                <c:pt idx="48">
                  <c:v>1382</c:v>
                </c:pt>
                <c:pt idx="49">
                  <c:v>1348</c:v>
                </c:pt>
                <c:pt idx="50">
                  <c:v>1398</c:v>
                </c:pt>
                <c:pt idx="51">
                  <c:v>1365</c:v>
                </c:pt>
                <c:pt idx="52">
                  <c:v>1316</c:v>
                </c:pt>
                <c:pt idx="53">
                  <c:v>1238</c:v>
                </c:pt>
                <c:pt idx="54">
                  <c:v>1222</c:v>
                </c:pt>
                <c:pt idx="55">
                  <c:v>1205</c:v>
                </c:pt>
                <c:pt idx="56">
                  <c:v>1191</c:v>
                </c:pt>
                <c:pt idx="57">
                  <c:v>1163</c:v>
                </c:pt>
                <c:pt idx="58">
                  <c:v>1119</c:v>
                </c:pt>
                <c:pt idx="59">
                  <c:v>1041</c:v>
                </c:pt>
                <c:pt idx="60">
                  <c:v>1019</c:v>
                </c:pt>
                <c:pt idx="61">
                  <c:v>978</c:v>
                </c:pt>
                <c:pt idx="62">
                  <c:v>981</c:v>
                </c:pt>
                <c:pt idx="63">
                  <c:v>999</c:v>
                </c:pt>
                <c:pt idx="64">
                  <c:v>949</c:v>
                </c:pt>
                <c:pt idx="65">
                  <c:v>915</c:v>
                </c:pt>
                <c:pt idx="66">
                  <c:v>838</c:v>
                </c:pt>
                <c:pt idx="67">
                  <c:v>792</c:v>
                </c:pt>
                <c:pt idx="68">
                  <c:v>757</c:v>
                </c:pt>
                <c:pt idx="69">
                  <c:v>766</c:v>
                </c:pt>
                <c:pt idx="70">
                  <c:v>743</c:v>
                </c:pt>
                <c:pt idx="71">
                  <c:v>715</c:v>
                </c:pt>
                <c:pt idx="72">
                  <c:v>685</c:v>
                </c:pt>
                <c:pt idx="73">
                  <c:v>624</c:v>
                </c:pt>
                <c:pt idx="74">
                  <c:v>554</c:v>
                </c:pt>
                <c:pt idx="75">
                  <c:v>534</c:v>
                </c:pt>
                <c:pt idx="76">
                  <c:v>5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1485.369836848839</c:v>
                </c:pt>
                <c:pt idx="11">
                  <c:v>1528.2577177119847</c:v>
                </c:pt>
                <c:pt idx="12">
                  <c:v>1571.7546794861883</c:v>
                </c:pt>
                <c:pt idx="13">
                  <c:v>1616.1751294048318</c:v>
                </c:pt>
                <c:pt idx="14">
                  <c:v>1660.7583668090567</c:v>
                </c:pt>
                <c:pt idx="15">
                  <c:v>1704.0899138010243</c:v>
                </c:pt>
                <c:pt idx="16">
                  <c:v>1745.8498703350597</c:v>
                </c:pt>
                <c:pt idx="17">
                  <c:v>1784.6425516596371</c:v>
                </c:pt>
                <c:pt idx="18">
                  <c:v>1818.991010095853</c:v>
                </c:pt>
                <c:pt idx="19">
                  <c:v>1848.8596907657045</c:v>
                </c:pt>
                <c:pt idx="20">
                  <c:v>1874.2882277786537</c:v>
                </c:pt>
                <c:pt idx="21">
                  <c:v>1894.5176949736626</c:v>
                </c:pt>
                <c:pt idx="22">
                  <c:v>1909.2357250162929</c:v>
                </c:pt>
                <c:pt idx="23">
                  <c:v>1918.7301211161773</c:v>
                </c:pt>
                <c:pt idx="24">
                  <c:v>1923.4505345991092</c:v>
                </c:pt>
                <c:pt idx="25">
                  <c:v>1923.8354386986039</c:v>
                </c:pt>
                <c:pt idx="26">
                  <c:v>1920.1146264919389</c:v>
                </c:pt>
                <c:pt idx="27">
                  <c:v>1912.4085233441933</c:v>
                </c:pt>
                <c:pt idx="28">
                  <c:v>1900.7101245688546</c:v>
                </c:pt>
                <c:pt idx="29">
                  <c:v>1885.3612522560809</c:v>
                </c:pt>
                <c:pt idx="30">
                  <c:v>1866.7959256137001</c:v>
                </c:pt>
                <c:pt idx="31">
                  <c:v>1845.3620003118795</c:v>
                </c:pt>
                <c:pt idx="32">
                  <c:v>1821.3072864363612</c:v>
                </c:pt>
                <c:pt idx="33">
                  <c:v>1794.9373711230892</c:v>
                </c:pt>
                <c:pt idx="34">
                  <c:v>1766.6011558247731</c:v>
                </c:pt>
                <c:pt idx="35">
                  <c:v>1736.4962625590679</c:v>
                </c:pt>
                <c:pt idx="36">
                  <c:v>1704.8907648207064</c:v>
                </c:pt>
                <c:pt idx="37">
                  <c:v>1672.0041499396448</c:v>
                </c:pt>
                <c:pt idx="38">
                  <c:v>1638.0020036804117</c:v>
                </c:pt>
                <c:pt idx="39">
                  <c:v>1603.1032929063774</c:v>
                </c:pt>
                <c:pt idx="40">
                  <c:v>1567.5164558191509</c:v>
                </c:pt>
                <c:pt idx="41">
                  <c:v>1531.3822037359269</c:v>
                </c:pt>
                <c:pt idx="42">
                  <c:v>1494.831472465766</c:v>
                </c:pt>
                <c:pt idx="43">
                  <c:v>1458.01775883544</c:v>
                </c:pt>
                <c:pt idx="44">
                  <c:v>1421.0505812333422</c:v>
                </c:pt>
                <c:pt idx="45">
                  <c:v>1384.0298537825759</c:v>
                </c:pt>
                <c:pt idx="46">
                  <c:v>1347.0684189571548</c:v>
                </c:pt>
                <c:pt idx="47">
                  <c:v>1310.2354488493429</c:v>
                </c:pt>
                <c:pt idx="48">
                  <c:v>1273.9363743396552</c:v>
                </c:pt>
                <c:pt idx="49">
                  <c:v>1238.228515265434</c:v>
                </c:pt>
                <c:pt idx="50">
                  <c:v>1203.1360182843414</c:v>
                </c:pt>
                <c:pt idx="51">
                  <c:v>1168.6864160511914</c:v>
                </c:pt>
                <c:pt idx="52">
                  <c:v>1134.8974087455197</c:v>
                </c:pt>
                <c:pt idx="53">
                  <c:v>1101.7775278903666</c:v>
                </c:pt>
                <c:pt idx="54">
                  <c:v>1069.3450780147566</c:v>
                </c:pt>
                <c:pt idx="55">
                  <c:v>1037.6177017197072</c:v>
                </c:pt>
                <c:pt idx="56">
                  <c:v>1006.6088587337268</c:v>
                </c:pt>
                <c:pt idx="57">
                  <c:v>976.32467527408903</c:v>
                </c:pt>
                <c:pt idx="58">
                  <c:v>946.76985741225053</c:v>
                </c:pt>
                <c:pt idx="59">
                  <c:v>917.95051042984016</c:v>
                </c:pt>
                <c:pt idx="60">
                  <c:v>889.86588246456313</c:v>
                </c:pt>
                <c:pt idx="61">
                  <c:v>862.50767446145153</c:v>
                </c:pt>
                <c:pt idx="62">
                  <c:v>835.84193592179497</c:v>
                </c:pt>
                <c:pt idx="63">
                  <c:v>809.83784041511808</c:v>
                </c:pt>
                <c:pt idx="64">
                  <c:v>784.51653116604859</c:v>
                </c:pt>
                <c:pt idx="65">
                  <c:v>759.88409997846429</c:v>
                </c:pt>
                <c:pt idx="66">
                  <c:v>735.9364708286198</c:v>
                </c:pt>
                <c:pt idx="67">
                  <c:v>712.67298520128179</c:v>
                </c:pt>
                <c:pt idx="68">
                  <c:v>690.0921845958286</c:v>
                </c:pt>
                <c:pt idx="69">
                  <c:v>668.18403695456004</c:v>
                </c:pt>
                <c:pt idx="70">
                  <c:v>646.94205452936899</c:v>
                </c:pt>
                <c:pt idx="71">
                  <c:v>626.50360954688006</c:v>
                </c:pt>
                <c:pt idx="72">
                  <c:v>606.963843417416</c:v>
                </c:pt>
                <c:pt idx="73">
                  <c:v>588.37251375162714</c:v>
                </c:pt>
                <c:pt idx="74">
                  <c:v>570.75275840563597</c:v>
                </c:pt>
                <c:pt idx="75">
                  <c:v>554.11204090762146</c:v>
                </c:pt>
                <c:pt idx="76">
                  <c:v>538.44938360390165</c:v>
                </c:pt>
                <c:pt idx="77">
                  <c:v>523.75963875613468</c:v>
                </c:pt>
                <c:pt idx="78">
                  <c:v>510.0376768325566</c:v>
                </c:pt>
                <c:pt idx="79">
                  <c:v>497.27469478205722</c:v>
                </c:pt>
                <c:pt idx="80">
                  <c:v>485.45170932242701</c:v>
                </c:pt>
                <c:pt idx="81">
                  <c:v>474.53729770714892</c:v>
                </c:pt>
                <c:pt idx="82">
                  <c:v>464.4895905853104</c:v>
                </c:pt>
                <c:pt idx="83">
                  <c:v>455.26026642934551</c:v>
                </c:pt>
                <c:pt idx="84">
                  <c:v>446.79299523207828</c:v>
                </c:pt>
                <c:pt idx="85">
                  <c:v>439.02652931412734</c:v>
                </c:pt>
                <c:pt idx="86">
                  <c:v>431.89723333392624</c:v>
                </c:pt>
                <c:pt idx="87">
                  <c:v>425.34147494756002</c:v>
                </c:pt>
                <c:pt idx="88">
                  <c:v>419.29736584372034</c:v>
                </c:pt>
                <c:pt idx="89">
                  <c:v>413.705927267638</c:v>
                </c:pt>
                <c:pt idx="90">
                  <c:v>408.51122498378959</c:v>
                </c:pt>
                <c:pt idx="91">
                  <c:v>403.66044040023803</c:v>
                </c:pt>
                <c:pt idx="92">
                  <c:v>399.10374456961085</c:v>
                </c:pt>
                <c:pt idx="93">
                  <c:v>394.79574411602789</c:v>
                </c:pt>
                <c:pt idx="94">
                  <c:v>390.69611838461094</c:v>
                </c:pt>
                <c:pt idx="95">
                  <c:v>386.76960820186082</c:v>
                </c:pt>
                <c:pt idx="96">
                  <c:v>382.98560049020358</c:v>
                </c:pt>
                <c:pt idx="97">
                  <c:v>379.31740032215316</c:v>
                </c:pt>
                <c:pt idx="98">
                  <c:v>375.74490679304517</c:v>
                </c:pt>
                <c:pt idx="99">
                  <c:v>372.25311947728653</c:v>
                </c:pt>
                <c:pt idx="100">
                  <c:v>368.83069617059397</c:v>
                </c:pt>
                <c:pt idx="101">
                  <c:v>365.46897282127799</c:v>
                </c:pt>
                <c:pt idx="102">
                  <c:v>362.16117700837134</c:v>
                </c:pt>
                <c:pt idx="103">
                  <c:v>358.90206184402848</c:v>
                </c:pt>
                <c:pt idx="104">
                  <c:v>355.68752038353836</c:v>
                </c:pt>
                <c:pt idx="105">
                  <c:v>352.514221655592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1478.0752157777988</c:v>
                </c:pt>
                <c:pt idx="11">
                  <c:v>1512.11327232242</c:v>
                </c:pt>
                <c:pt idx="12">
                  <c:v>1546.3519777846993</c:v>
                </c:pt>
                <c:pt idx="13">
                  <c:v>1581.2722887581087</c:v>
                </c:pt>
                <c:pt idx="14">
                  <c:v>1616.2061337198156</c:v>
                </c:pt>
                <c:pt idx="15">
                  <c:v>1649.7671654525291</c:v>
                </c:pt>
                <c:pt idx="16">
                  <c:v>1681.684707040753</c:v>
                </c:pt>
                <c:pt idx="17">
                  <c:v>1710.6919066919731</c:v>
                </c:pt>
                <c:pt idx="18">
                  <c:v>1735.5052644467605</c:v>
                </c:pt>
                <c:pt idx="19">
                  <c:v>1756.1769704648432</c:v>
                </c:pt>
                <c:pt idx="20">
                  <c:v>1772.9074051883099</c:v>
                </c:pt>
                <c:pt idx="21">
                  <c:v>1785.1338259964887</c:v>
                </c:pt>
                <c:pt idx="22">
                  <c:v>1792.5674019680182</c:v>
                </c:pt>
                <c:pt idx="23">
                  <c:v>1795.4271464595513</c:v>
                </c:pt>
                <c:pt idx="24">
                  <c:v>1794.1019911621679</c:v>
                </c:pt>
                <c:pt idx="25">
                  <c:v>1788.9896742161193</c:v>
                </c:pt>
                <c:pt idx="26">
                  <c:v>1780.2436913234878</c:v>
                </c:pt>
                <c:pt idx="27">
                  <c:v>1767.9091969546782</c:v>
                </c:pt>
                <c:pt idx="28">
                  <c:v>1751.9273763936494</c:v>
                </c:pt>
                <c:pt idx="29">
                  <c:v>1732.5919987753439</c:v>
                </c:pt>
                <c:pt idx="30">
                  <c:v>1710.3047044415353</c:v>
                </c:pt>
                <c:pt idx="31">
                  <c:v>1685.3756493658684</c:v>
                </c:pt>
                <c:pt idx="32">
                  <c:v>1657.9900689625747</c:v>
                </c:pt>
                <c:pt idx="33">
                  <c:v>1628.3653786988848</c:v>
                </c:pt>
                <c:pt idx="34">
                  <c:v>1596.7948534172483</c:v>
                </c:pt>
                <c:pt idx="35">
                  <c:v>1563.4673563004385</c:v>
                </c:pt>
                <c:pt idx="36">
                  <c:v>1528.6568287817465</c:v>
                </c:pt>
                <c:pt idx="37">
                  <c:v>1492.5761447010832</c:v>
                </c:pt>
                <c:pt idx="38">
                  <c:v>1455.3932955465607</c:v>
                </c:pt>
                <c:pt idx="39">
                  <c:v>1417.3299050521782</c:v>
                </c:pt>
                <c:pt idx="40">
                  <c:v>1378.6046266576691</c:v>
                </c:pt>
                <c:pt idx="41">
                  <c:v>1339.3868690252016</c:v>
                </c:pt>
                <c:pt idx="42">
                  <c:v>1299.8376260196276</c:v>
                </c:pt>
                <c:pt idx="43">
                  <c:v>1260.1451638731148</c:v>
                </c:pt>
                <c:pt idx="44">
                  <c:v>1220.4524484506944</c:v>
                </c:pt>
                <c:pt idx="45">
                  <c:v>1180.8919829242395</c:v>
                </c:pt>
                <c:pt idx="46">
                  <c:v>1141.6066439695835</c:v>
                </c:pt>
                <c:pt idx="47">
                  <c:v>1102.6962914501298</c:v>
                </c:pt>
                <c:pt idx="48">
                  <c:v>1064.540230042307</c:v>
                </c:pt>
                <c:pt idx="49">
                  <c:v>1027.2197984230977</c:v>
                </c:pt>
                <c:pt idx="50">
                  <c:v>990.78312869735782</c:v>
                </c:pt>
                <c:pt idx="51">
                  <c:v>955.27425443497782</c:v>
                </c:pt>
                <c:pt idx="52">
                  <c:v>920.72610336984371</c:v>
                </c:pt>
                <c:pt idx="53">
                  <c:v>887.16198831195379</c:v>
                </c:pt>
                <c:pt idx="54">
                  <c:v>854.59128743821248</c:v>
                </c:pt>
                <c:pt idx="55">
                  <c:v>823.00769438646466</c:v>
                </c:pt>
                <c:pt idx="56">
                  <c:v>792.39282354391003</c:v>
                </c:pt>
                <c:pt idx="57">
                  <c:v>762.71690991701598</c:v>
                </c:pt>
                <c:pt idx="58">
                  <c:v>733.94816741030718</c:v>
                </c:pt>
                <c:pt idx="59">
                  <c:v>706.05762359952769</c:v>
                </c:pt>
                <c:pt idx="60">
                  <c:v>679.02342994180424</c:v>
                </c:pt>
                <c:pt idx="61">
                  <c:v>652.82966602561021</c:v>
                </c:pt>
                <c:pt idx="62">
                  <c:v>627.44321091263589</c:v>
                </c:pt>
                <c:pt idx="63">
                  <c:v>602.83604269395323</c:v>
                </c:pt>
                <c:pt idx="64">
                  <c:v>579.01766667159382</c:v>
                </c:pt>
                <c:pt idx="65">
                  <c:v>555.97847241499073</c:v>
                </c:pt>
                <c:pt idx="66">
                  <c:v>533.70269111167704</c:v>
                </c:pt>
                <c:pt idx="67">
                  <c:v>512.18374208456214</c:v>
                </c:pt>
                <c:pt idx="68">
                  <c:v>491.4209158704648</c:v>
                </c:pt>
                <c:pt idx="69">
                  <c:v>471.40819607860317</c:v>
                </c:pt>
                <c:pt idx="70">
                  <c:v>452.14160088780795</c:v>
                </c:pt>
                <c:pt idx="71">
                  <c:v>433.70473884528496</c:v>
                </c:pt>
                <c:pt idx="72">
                  <c:v>416.14678664354233</c:v>
                </c:pt>
                <c:pt idx="73">
                  <c:v>399.48672249043443</c:v>
                </c:pt>
                <c:pt idx="74">
                  <c:v>383.72648541342494</c:v>
                </c:pt>
                <c:pt idx="75">
                  <c:v>368.85811465518856</c:v>
                </c:pt>
                <c:pt idx="76">
                  <c:v>354.86814706363771</c:v>
                </c:pt>
                <c:pt idx="77">
                  <c:v>341.73922713609971</c:v>
                </c:pt>
                <c:pt idx="78">
                  <c:v>329.44976215417046</c:v>
                </c:pt>
                <c:pt idx="79">
                  <c:v>317.97194802757491</c:v>
                </c:pt>
                <c:pt idx="80">
                  <c:v>307.27243306048831</c:v>
                </c:pt>
                <c:pt idx="81">
                  <c:v>297.3123009611279</c:v>
                </c:pt>
                <c:pt idx="82">
                  <c:v>288.04766312352467</c:v>
                </c:pt>
                <c:pt idx="83">
                  <c:v>279.4142222829517</c:v>
                </c:pt>
                <c:pt idx="84">
                  <c:v>271.33551413560303</c:v>
                </c:pt>
                <c:pt idx="85">
                  <c:v>263.73113925821934</c:v>
                </c:pt>
                <c:pt idx="86">
                  <c:v>256.5207632950009</c:v>
                </c:pt>
                <c:pt idx="87">
                  <c:v>249.63356061115601</c:v>
                </c:pt>
                <c:pt idx="88">
                  <c:v>243.00739750769017</c:v>
                </c:pt>
                <c:pt idx="89">
                  <c:v>236.58733761046125</c:v>
                </c:pt>
                <c:pt idx="90">
                  <c:v>230.32432760546732</c:v>
                </c:pt>
                <c:pt idx="91">
                  <c:v>224.17466305741019</c:v>
                </c:pt>
                <c:pt idx="92">
                  <c:v>218.11159253023135</c:v>
                </c:pt>
                <c:pt idx="93">
                  <c:v>212.12158886329522</c:v>
                </c:pt>
                <c:pt idx="94">
                  <c:v>206.20044517612911</c:v>
                </c:pt>
                <c:pt idx="95">
                  <c:v>200.35015441952925</c:v>
                </c:pt>
                <c:pt idx="96">
                  <c:v>194.57653538085091</c:v>
                </c:pt>
                <c:pt idx="97">
                  <c:v>188.88740181855255</c:v>
                </c:pt>
                <c:pt idx="98">
                  <c:v>183.29151829040688</c:v>
                </c:pt>
                <c:pt idx="99">
                  <c:v>177.79843915147893</c:v>
                </c:pt>
                <c:pt idx="100">
                  <c:v>172.41920745110161</c:v>
                </c:pt>
                <c:pt idx="101">
                  <c:v>167.16508936597862</c:v>
                </c:pt>
                <c:pt idx="102">
                  <c:v>162.04641079918312</c:v>
                </c:pt>
                <c:pt idx="103">
                  <c:v>157.07188658479021</c:v>
                </c:pt>
                <c:pt idx="104">
                  <c:v>152.24846550663432</c:v>
                </c:pt>
                <c:pt idx="105">
                  <c:v>147.581447172308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II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1489.0133582381427</c:v>
                </c:pt>
                <c:pt idx="11">
                  <c:v>1536.6585710758609</c:v>
                </c:pt>
                <c:pt idx="12">
                  <c:v>1585.5007310874776</c:v>
                </c:pt>
                <c:pt idx="13">
                  <c:v>1635.7681414344906</c:v>
                </c:pt>
                <c:pt idx="14">
                  <c:v>1686.6459413709727</c:v>
                </c:pt>
                <c:pt idx="15">
                  <c:v>1736.6972062994382</c:v>
                </c:pt>
                <c:pt idx="16">
                  <c:v>1785.5668310482292</c:v>
                </c:pt>
                <c:pt idx="17">
                  <c:v>1831.7803073311661</c:v>
                </c:pt>
                <c:pt idx="18">
                  <c:v>1873.7327383444128</c:v>
                </c:pt>
                <c:pt idx="19">
                  <c:v>1911.3017099485949</c:v>
                </c:pt>
                <c:pt idx="20">
                  <c:v>1944.3998321745607</c:v>
                </c:pt>
                <c:pt idx="21">
                  <c:v>1972.1209077789231</c:v>
                </c:pt>
                <c:pt idx="22">
                  <c:v>1994.0819013153232</c:v>
                </c:pt>
                <c:pt idx="23">
                  <c:v>2010.5444498965285</c:v>
                </c:pt>
                <c:pt idx="24">
                  <c:v>2021.9285856149725</c:v>
                </c:pt>
                <c:pt idx="25">
                  <c:v>2028.6357887529773</c:v>
                </c:pt>
                <c:pt idx="26">
                  <c:v>2030.8819785750802</c:v>
                </c:pt>
                <c:pt idx="27">
                  <c:v>2028.7826740386824</c:v>
                </c:pt>
                <c:pt idx="28">
                  <c:v>2022.3257505588208</c:v>
                </c:pt>
                <c:pt idx="29">
                  <c:v>2011.8501062717439</c:v>
                </c:pt>
                <c:pt idx="30">
                  <c:v>1997.7838124829086</c:v>
                </c:pt>
                <c:pt idx="31">
                  <c:v>1980.4702853067292</c:v>
                </c:pt>
                <c:pt idx="32">
                  <c:v>1960.1674757716457</c:v>
                </c:pt>
                <c:pt idx="33">
                  <c:v>1937.2111266774778</c:v>
                </c:pt>
                <c:pt idx="34">
                  <c:v>1911.9733800059585</c:v>
                </c:pt>
                <c:pt idx="35">
                  <c:v>1884.6620217178938</c:v>
                </c:pt>
                <c:pt idx="36">
                  <c:v>1855.5572428842452</c:v>
                </c:pt>
                <c:pt idx="37">
                  <c:v>1824.9018650836254</c:v>
                </c:pt>
                <c:pt idx="38">
                  <c:v>1792.882626471993</c:v>
                </c:pt>
                <c:pt idx="39">
                  <c:v>1759.7429516427958</c:v>
                </c:pt>
                <c:pt idx="40">
                  <c:v>1725.7172894635737</c:v>
                </c:pt>
                <c:pt idx="41">
                  <c:v>1690.9588133222865</c:v>
                </c:pt>
                <c:pt idx="42">
                  <c:v>1655.6076905676955</c:v>
                </c:pt>
                <c:pt idx="43">
                  <c:v>1619.8279713073875</c:v>
                </c:pt>
                <c:pt idx="44">
                  <c:v>1583.7418073526183</c:v>
                </c:pt>
                <c:pt idx="45">
                  <c:v>1547.4637668883981</c:v>
                </c:pt>
                <c:pt idx="46">
                  <c:v>1511.1247525038402</c:v>
                </c:pt>
                <c:pt idx="47">
                  <c:v>1474.8108836935994</c:v>
                </c:pt>
                <c:pt idx="48">
                  <c:v>1438.978144907865</c:v>
                </c:pt>
                <c:pt idx="49">
                  <c:v>1403.6856794304822</c:v>
                </c:pt>
                <c:pt idx="50">
                  <c:v>1368.9641255580555</c:v>
                </c:pt>
                <c:pt idx="51">
                  <c:v>1334.852478302394</c:v>
                </c:pt>
                <c:pt idx="52">
                  <c:v>1301.3848468994026</c:v>
                </c:pt>
                <c:pt idx="53">
                  <c:v>1268.5899520742094</c:v>
                </c:pt>
                <c:pt idx="54">
                  <c:v>1236.4961425531139</c:v>
                </c:pt>
                <c:pt idx="55">
                  <c:v>1205.1223348463179</c:v>
                </c:pt>
                <c:pt idx="56">
                  <c:v>1174.4781906348851</c:v>
                </c:pt>
                <c:pt idx="57">
                  <c:v>1144.5636430592238</c:v>
                </c:pt>
                <c:pt idx="58">
                  <c:v>1115.3760255407503</c:v>
                </c:pt>
                <c:pt idx="59">
                  <c:v>1086.9137153317949</c:v>
                </c:pt>
                <c:pt idx="60">
                  <c:v>1059.1795853458041</c:v>
                </c:pt>
                <c:pt idx="61">
                  <c:v>1032.1797728807048</c:v>
                </c:pt>
                <c:pt idx="62">
                  <c:v>1005.9014830149531</c:v>
                </c:pt>
                <c:pt idx="63">
                  <c:v>980.33444333597527</c:v>
                </c:pt>
                <c:pt idx="64">
                  <c:v>955.47794715360544</c:v>
                </c:pt>
                <c:pt idx="65">
                  <c:v>931.31629456528026</c:v>
                </c:pt>
                <c:pt idx="66">
                  <c:v>907.83031536295243</c:v>
                </c:pt>
                <c:pt idx="67">
                  <c:v>885.01042587297877</c:v>
                </c:pt>
                <c:pt idx="68">
                  <c:v>862.84830857946042</c:v>
                </c:pt>
                <c:pt idx="69">
                  <c:v>841.32769772791039</c:v>
                </c:pt>
                <c:pt idx="70">
                  <c:v>820.43388213007427</c:v>
                </c:pt>
                <c:pt idx="71">
                  <c:v>800.15362797435125</c:v>
                </c:pt>
                <c:pt idx="72">
                  <c:v>780.47204692781702</c:v>
                </c:pt>
                <c:pt idx="73">
                  <c:v>761.3739126944937</c:v>
                </c:pt>
                <c:pt idx="74">
                  <c:v>742.84395975791608</c:v>
                </c:pt>
                <c:pt idx="75">
                  <c:v>724.8669258459546</c:v>
                </c:pt>
                <c:pt idx="76">
                  <c:v>707.42747314644134</c:v>
                </c:pt>
                <c:pt idx="77">
                  <c:v>690.51030326744535</c:v>
                </c:pt>
                <c:pt idx="78">
                  <c:v>674.1002036100906</c:v>
                </c:pt>
                <c:pt idx="79">
                  <c:v>658.18201618577052</c:v>
                </c:pt>
                <c:pt idx="80">
                  <c:v>642.74073241279882</c:v>
                </c:pt>
                <c:pt idx="81">
                  <c:v>627.7615427830001</c:v>
                </c:pt>
                <c:pt idx="82">
                  <c:v>613.22984192190586</c:v>
                </c:pt>
                <c:pt idx="83">
                  <c:v>599.13126088307354</c:v>
                </c:pt>
                <c:pt idx="84">
                  <c:v>585.45170081012486</c:v>
                </c:pt>
                <c:pt idx="85">
                  <c:v>572.17733825163918</c:v>
                </c:pt>
                <c:pt idx="86">
                  <c:v>559.2946185141767</c:v>
                </c:pt>
                <c:pt idx="87">
                  <c:v>546.79028237164289</c:v>
                </c:pt>
                <c:pt idx="88">
                  <c:v>534.65138618450135</c:v>
                </c:pt>
                <c:pt idx="89">
                  <c:v>522.86531136030715</c:v>
                </c:pt>
                <c:pt idx="90">
                  <c:v>511.41976355112138</c:v>
                </c:pt>
                <c:pt idx="91">
                  <c:v>500.3027691616474</c:v>
                </c:pt>
                <c:pt idx="92">
                  <c:v>489.50268449461419</c:v>
                </c:pt>
                <c:pt idx="93">
                  <c:v>479.00819446693669</c:v>
                </c:pt>
                <c:pt idx="94">
                  <c:v>468.80830776803589</c:v>
                </c:pt>
                <c:pt idx="95">
                  <c:v>458.89235747870634</c:v>
                </c:pt>
                <c:pt idx="96">
                  <c:v>449.25000202330295</c:v>
                </c:pt>
                <c:pt idx="97">
                  <c:v>439.87122399093863</c:v>
                </c:pt>
                <c:pt idx="98">
                  <c:v>430.7463241138131</c:v>
                </c:pt>
                <c:pt idx="99">
                  <c:v>421.86591335833612</c:v>
                </c:pt>
                <c:pt idx="100">
                  <c:v>413.22090957970408</c:v>
                </c:pt>
                <c:pt idx="101">
                  <c:v>404.80253383784827</c:v>
                </c:pt>
                <c:pt idx="102">
                  <c:v>396.60230392755659</c:v>
                </c:pt>
                <c:pt idx="103">
                  <c:v>388.61202849471664</c:v>
                </c:pt>
                <c:pt idx="104">
                  <c:v>380.82380090155664</c:v>
                </c:pt>
                <c:pt idx="105">
                  <c:v>373.22999285618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image" Target="../media/image57.emf"/><Relationship Id="rId1" Type="http://schemas.openxmlformats.org/officeDocument/2006/relationships/image" Target="../media/image5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0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62.emf"/><Relationship Id="rId1" Type="http://schemas.openxmlformats.org/officeDocument/2006/relationships/image" Target="../media/image6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64.emf"/><Relationship Id="rId1" Type="http://schemas.openxmlformats.org/officeDocument/2006/relationships/image" Target="../media/image6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49B693-0224-4462-ABCA-F9A8F1AB2C32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1A8391-AEEE-4BD7-9637-00D7868B75A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420487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9034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03728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341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23806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2359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tmp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6" Type="http://schemas.openxmlformats.org/officeDocument/2006/relationships/image" Target="NULL"/><Relationship Id="rId5" Type="http://schemas.openxmlformats.org/officeDocument/2006/relationships/image" Target="../media/image11.png"/><Relationship Id="rId4" Type="http://schemas.openxmlformats.org/officeDocument/2006/relationships/image" Target="NUL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6" Type="http://schemas.openxmlformats.org/officeDocument/2006/relationships/image" Target="NULL"/><Relationship Id="rId5" Type="http://schemas.openxmlformats.org/officeDocument/2006/relationships/image" Target="../media/image14.png"/><Relationship Id="rId4" Type="http://schemas.openxmlformats.org/officeDocument/2006/relationships/image" Target="NUL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6" Type="http://schemas.openxmlformats.org/officeDocument/2006/relationships/image" Target="NULL"/><Relationship Id="rId5" Type="http://schemas.openxmlformats.org/officeDocument/2006/relationships/image" Target="../media/image14.png"/><Relationship Id="rId4" Type="http://schemas.openxmlformats.org/officeDocument/2006/relationships/image" Target="NUL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6" Type="http://schemas.openxmlformats.org/officeDocument/2006/relationships/image" Target="NULL"/><Relationship Id="rId5" Type="http://schemas.openxmlformats.org/officeDocument/2006/relationships/image" Target="../media/image11.png"/><Relationship Id="rId4" Type="http://schemas.openxmlformats.org/officeDocument/2006/relationships/image" Target="NUL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6" Type="http://schemas.openxmlformats.org/officeDocument/2006/relationships/image" Target="NULL"/><Relationship Id="rId5" Type="http://schemas.openxmlformats.org/officeDocument/2006/relationships/image" Target="../media/image11.png"/><Relationship Id="rId4" Type="http://schemas.openxmlformats.org/officeDocument/2006/relationships/image" Target="NUL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4.svg"/><Relationship Id="rId5" Type="http://schemas.openxmlformats.org/officeDocument/2006/relationships/image" Target="../media/image16.png"/><Relationship Id="rId4" Type="http://schemas.openxmlformats.org/officeDocument/2006/relationships/image" Target="../media/image7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openxmlformats.org/officeDocument/2006/relationships/image" Target="../media/image4.svg"/><Relationship Id="rId4" Type="http://schemas.openxmlformats.org/officeDocument/2006/relationships/image" Target="../media/image18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openxmlformats.org/officeDocument/2006/relationships/image" Target="../media/image4.svg"/><Relationship Id="rId4" Type="http://schemas.openxmlformats.org/officeDocument/2006/relationships/image" Target="../media/image18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openxmlformats.org/officeDocument/2006/relationships/image" Target="../media/image4.svg"/><Relationship Id="rId4" Type="http://schemas.openxmlformats.org/officeDocument/2006/relationships/image" Target="../media/image18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7.sv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openxmlformats.org/officeDocument/2006/relationships/image" Target="../media/image4.svg"/><Relationship Id="rId4" Type="http://schemas.openxmlformats.org/officeDocument/2006/relationships/image" Target="../media/image18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4.svg"/><Relationship Id="rId5" Type="http://schemas.openxmlformats.org/officeDocument/2006/relationships/image" Target="../media/image16.png"/><Relationship Id="rId4" Type="http://schemas.openxmlformats.org/officeDocument/2006/relationships/image" Target="../media/image7.sv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Relationship Id="rId6" Type="http://schemas.openxmlformats.org/officeDocument/2006/relationships/image" Target="NULL"/><Relationship Id="rId5" Type="http://schemas.openxmlformats.org/officeDocument/2006/relationships/image" Target="../media/image20.png"/><Relationship Id="rId4" Type="http://schemas.openxmlformats.org/officeDocument/2006/relationships/image" Target="NUL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image" Target="../media/image22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image" Target="../media/image22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image" Target="../media/image22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Relationship Id="rId6" Type="http://schemas.openxmlformats.org/officeDocument/2006/relationships/image" Target="NUL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image" Target="../media/image22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6" Type="http://schemas.openxmlformats.org/officeDocument/2006/relationships/image" Target="NULL"/><Relationship Id="rId5" Type="http://schemas.openxmlformats.org/officeDocument/2006/relationships/image" Target="../media/image20.png"/><Relationship Id="rId4" Type="http://schemas.openxmlformats.org/officeDocument/2006/relationships/image" Target="NUL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smtClean="0"/>
              <a:t>Kliknutím můžete upravit styl předlohy.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56835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0646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6561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cs-CZ"/>
              <a:t>Klepnutím lze upravit styl předlohy podnadpisů.</a:t>
            </a:r>
          </a:p>
        </p:txBody>
      </p:sp>
    </p:spTree>
    <p:extLst>
      <p:ext uri="{BB962C8B-B14F-4D97-AF65-F5344CB8AC3E}">
        <p14:creationId xmlns:p14="http://schemas.microsoft.com/office/powerpoint/2010/main" val="2698787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3129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305477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912285" y="2060575"/>
            <a:ext cx="5226049" cy="38163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341533" y="2060575"/>
            <a:ext cx="5226051" cy="38163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11429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326765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</p:spTree>
    <p:extLst>
      <p:ext uri="{BB962C8B-B14F-4D97-AF65-F5344CB8AC3E}">
        <p14:creationId xmlns:p14="http://schemas.microsoft.com/office/powerpoint/2010/main" val="2890131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925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2562865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53854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626806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93535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904818" y="1484313"/>
            <a:ext cx="2662767" cy="4392612"/>
          </a:xfrm>
        </p:spPr>
        <p:txBody>
          <a:bodyPr vert="eaVert"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912284" y="1484313"/>
            <a:ext cx="7789333" cy="4392612"/>
          </a:xfrm>
        </p:spPr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256183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87251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291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87669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81825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61089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952158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903414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85390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780298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68672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07723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82065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66898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71859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524555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1523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981381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3551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75397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813993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656010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4881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8784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smtClean="0"/>
              <a:t>Kliknutím můžete upravit styl předlohy.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6F28D-DF77-4876-A995-C2267B922136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D063E6-3C58-450E-A9BE-F81E5F76973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38933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6F28D-DF77-4876-A995-C2267B922136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D063E6-3C58-450E-A9BE-F81E5F76973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935880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6F28D-DF77-4876-A995-C2267B922136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D063E6-3C58-450E-A9BE-F81E5F76973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0366696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6F28D-DF77-4876-A995-C2267B922136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D063E6-3C58-450E-A9BE-F81E5F76973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52605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6F28D-DF77-4876-A995-C2267B922136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D063E6-3C58-450E-A9BE-F81E5F76973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447817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6F28D-DF77-4876-A995-C2267B922136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D063E6-3C58-450E-A9BE-F81E5F76973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74063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5863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6F28D-DF77-4876-A995-C2267B922136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D063E6-3C58-450E-A9BE-F81E5F76973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617509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6F28D-DF77-4876-A995-C2267B922136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D063E6-3C58-450E-A9BE-F81E5F76973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1882227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6F28D-DF77-4876-A995-C2267B922136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D063E6-3C58-450E-A9BE-F81E5F76973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1838852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6F28D-DF77-4876-A995-C2267B922136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D063E6-3C58-450E-A9BE-F81E5F76973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730772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6F28D-DF77-4876-A995-C2267B922136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D063E6-3C58-450E-A9BE-F81E5F76973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7013491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9614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003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404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725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59467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877200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628517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042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78162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7396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7636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979271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460675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31647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053683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357621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4145725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9214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2704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28078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256290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4680950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2301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158404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5708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7185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965603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2481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6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5.xml"/><Relationship Id="rId4" Type="http://schemas.openxmlformats.org/officeDocument/2006/relationships/slideLayout" Target="../slideLayouts/slideLayout74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24C4AF-00CE-49A1-A89A-55E083F5FB62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6626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2285" y="1484313"/>
            <a:ext cx="1065530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 předlohy nadpisů.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5" y="2060575"/>
            <a:ext cx="10655300" cy="38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y předlohy textu.</a:t>
            </a:r>
          </a:p>
        </p:txBody>
      </p:sp>
      <p:pic>
        <p:nvPicPr>
          <p:cNvPr id="1031" name="Picture 7" descr="hlavicka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1"/>
            <a:ext cx="12192000" cy="12239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43239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8325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692437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56F28D-DF77-4876-A995-C2267B922136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D063E6-3C58-450E-A9BE-F81E5F76973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25029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144224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201990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79016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45.pn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44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43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42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slideLayout" Target="../slideLayouts/slideLayout55.xml"/><Relationship Id="rId27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image" Target="../media/image47.gif"/><Relationship Id="rId1" Type="http://schemas.openxmlformats.org/officeDocument/2006/relationships/slideLayout" Target="../slideLayouts/slideLayout55.xml"/><Relationship Id="rId4" Type="http://schemas.openxmlformats.org/officeDocument/2006/relationships/chart" Target="../charts/char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gif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48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chart" Target="../charts/chart4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chart" Target="../charts/chart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slideLayout" Target="../slideLayouts/slideLayout56.xml"/><Relationship Id="rId5" Type="http://schemas.openxmlformats.org/officeDocument/2006/relationships/tags" Target="../tags/tag26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3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35.xml"/><Relationship Id="rId7" Type="http://schemas.openxmlformats.org/officeDocument/2006/relationships/chart" Target="../charts/chart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4.xml"/><Relationship Id="rId4" Type="http://schemas.openxmlformats.org/officeDocument/2006/relationships/tags" Target="../tags/tag3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6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4.xml"/><Relationship Id="rId4" Type="http://schemas.openxmlformats.org/officeDocument/2006/relationships/tags" Target="../tags/tag4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chart" Target="../charts/chart7.xml"/><Relationship Id="rId5" Type="http://schemas.openxmlformats.org/officeDocument/2006/relationships/slideLayout" Target="../slideLayouts/slideLayout67.xml"/><Relationship Id="rId4" Type="http://schemas.openxmlformats.org/officeDocument/2006/relationships/tags" Target="../tags/tag4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hyperlink" Target="mailto:zlin@npi.cz" TargetMode="Externa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5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5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image" Target="../media/image59.png"/><Relationship Id="rId7" Type="http://schemas.openxmlformats.org/officeDocument/2006/relationships/image" Target="../media/image57.emf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6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58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60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62.emf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61.emf"/><Relationship Id="rId4" Type="http://schemas.openxmlformats.org/officeDocument/2006/relationships/oleObject" Target="../embeddings/oleObject5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64.emf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63.emf"/><Relationship Id="rId4" Type="http://schemas.openxmlformats.org/officeDocument/2006/relationships/oleObject" Target="../embeddings/oleObject7.bin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vlada.cz/assets/media-centrum/aktualne/noseni-ochrannych-prostredku-0433.pdf" TargetMode="External"/><Relationship Id="rId3" Type="http://schemas.openxmlformats.org/officeDocument/2006/relationships/hyperlink" Target="https://www.vlada.cz/assets/media-centrum/aktualne/provoz-vysokych-skol-0433.pdf" TargetMode="External"/><Relationship Id="rId7" Type="http://schemas.openxmlformats.org/officeDocument/2006/relationships/hyperlink" Target="https://www.vlada.cz/assets/media-centrum/aktualne/testovani-studentu-0433.pdf" TargetMode="External"/><Relationship Id="rId2" Type="http://schemas.openxmlformats.org/officeDocument/2006/relationships/hyperlink" Target="https://www.vlada.cz/assets/media-centrum/aktualne/mimoradna-opatreni-0433.pdf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www.vlada.cz/assets/media-centrum/aktualne/vysoke-skoly-od-4--kvetna-0433.pdf" TargetMode="External"/><Relationship Id="rId5" Type="http://schemas.openxmlformats.org/officeDocument/2006/relationships/hyperlink" Target="https://www.vlada.cz/assets/media-centrum/aktualne/maloobchody-od-10--kvetna-0433.pdf" TargetMode="External"/><Relationship Id="rId4" Type="http://schemas.openxmlformats.org/officeDocument/2006/relationships/hyperlink" Target="https://www.vlada.cz/assets/media-centrum/aktualne/maloobchod-od-4--kvetna-0433.pdf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268760"/>
            <a:ext cx="12144672" cy="5544616"/>
          </a:xfrm>
        </p:spPr>
        <p:txBody>
          <a:bodyPr/>
          <a:lstStyle/>
          <a:p>
            <a:pPr algn="ctr"/>
            <a:r>
              <a:rPr lang="cs-CZ" sz="5400" dirty="0" smtClean="0">
                <a:solidFill>
                  <a:schemeClr val="accent2"/>
                </a:solidFill>
                <a:latin typeface="Arial" panose="020B0604020202020204" pitchFamily="34" charset="0"/>
              </a:rPr>
              <a:t/>
            </a:r>
            <a:br>
              <a:rPr lang="cs-CZ" sz="5400" dirty="0" smtClean="0">
                <a:solidFill>
                  <a:schemeClr val="accent2"/>
                </a:solidFill>
                <a:latin typeface="Arial" panose="020B0604020202020204" pitchFamily="34" charset="0"/>
              </a:rPr>
            </a:br>
            <a:r>
              <a:rPr lang="cs-CZ" sz="5400" dirty="0" smtClean="0">
                <a:solidFill>
                  <a:schemeClr val="accent2"/>
                </a:solidFill>
                <a:latin typeface="Arial" panose="020B0604020202020204" pitchFamily="34" charset="0"/>
              </a:rPr>
              <a:t>18. porada hejtmana</a:t>
            </a:r>
            <a:br>
              <a:rPr lang="cs-CZ" sz="5400" dirty="0" smtClean="0">
                <a:solidFill>
                  <a:schemeClr val="accent2"/>
                </a:solidFill>
                <a:latin typeface="Arial" panose="020B0604020202020204" pitchFamily="34" charset="0"/>
              </a:rPr>
            </a:br>
            <a:r>
              <a:rPr lang="cs-CZ" sz="5400" dirty="0" smtClean="0">
                <a:solidFill>
                  <a:schemeClr val="accent2"/>
                </a:solidFill>
                <a:latin typeface="Arial" panose="020B0604020202020204" pitchFamily="34" charset="0"/>
              </a:rPr>
              <a:t> se starosty ORP ZK</a:t>
            </a:r>
            <a:r>
              <a:rPr lang="cs-CZ" sz="2800" dirty="0">
                <a:solidFill>
                  <a:schemeClr val="accent2"/>
                </a:solidFill>
                <a:latin typeface="Arial" panose="020B0604020202020204" pitchFamily="34" charset="0"/>
              </a:rPr>
              <a:t/>
            </a:r>
            <a:br>
              <a:rPr lang="cs-CZ" sz="2800" dirty="0">
                <a:solidFill>
                  <a:schemeClr val="accent2"/>
                </a:solidFill>
                <a:latin typeface="Arial" panose="020B0604020202020204" pitchFamily="34" charset="0"/>
              </a:rPr>
            </a:br>
            <a:r>
              <a:rPr lang="cs-CZ" sz="2800" dirty="0">
                <a:solidFill>
                  <a:schemeClr val="accent2"/>
                </a:solidFill>
                <a:latin typeface="Arial" panose="020B0604020202020204" pitchFamily="34" charset="0"/>
              </a:rPr>
              <a:t/>
            </a:r>
            <a:br>
              <a:rPr lang="cs-CZ" sz="2800" dirty="0">
                <a:solidFill>
                  <a:schemeClr val="accent2"/>
                </a:solidFill>
                <a:latin typeface="Arial" panose="020B0604020202020204" pitchFamily="34" charset="0"/>
              </a:rPr>
            </a:br>
            <a:r>
              <a:rPr lang="cs-CZ" sz="28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cs-CZ" sz="28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2800" dirty="0" smtClean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cs-CZ" sz="28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Zlín,</a:t>
            </a:r>
            <a:b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11:00 h; </a:t>
            </a:r>
            <a:b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5. května 2021</a:t>
            </a:r>
            <a:b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místnost 1120</a:t>
            </a:r>
            <a:b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Ing. Robert Pekaj</a:t>
            </a:r>
            <a:b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tajemník KŠ ZK </a:t>
            </a:r>
            <a:b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2800" dirty="0" smtClean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cs-CZ" sz="28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endParaRPr lang="cs-CZ" sz="2800" b="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4218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285" y="1484312"/>
            <a:ext cx="10655300" cy="5246001"/>
          </a:xfrm>
        </p:spPr>
      </p:pic>
    </p:spTree>
    <p:extLst>
      <p:ext uri="{BB962C8B-B14F-4D97-AF65-F5344CB8AC3E}">
        <p14:creationId xmlns:p14="http://schemas.microsoft.com/office/powerpoint/2010/main" val="1579464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285" y="1484313"/>
            <a:ext cx="10655300" cy="5188336"/>
          </a:xfrm>
        </p:spPr>
      </p:pic>
    </p:spTree>
    <p:extLst>
      <p:ext uri="{BB962C8B-B14F-4D97-AF65-F5344CB8AC3E}">
        <p14:creationId xmlns:p14="http://schemas.microsoft.com/office/powerpoint/2010/main" val="214514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8886" y="1351005"/>
            <a:ext cx="7051589" cy="5338119"/>
          </a:xfrm>
        </p:spPr>
      </p:pic>
    </p:spTree>
    <p:extLst>
      <p:ext uri="{BB962C8B-B14F-4D97-AF65-F5344CB8AC3E}">
        <p14:creationId xmlns:p14="http://schemas.microsoft.com/office/powerpoint/2010/main" val="199992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EC0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Skupina 1"/>
          <p:cNvGrpSpPr/>
          <p:nvPr/>
        </p:nvGrpSpPr>
        <p:grpSpPr>
          <a:xfrm>
            <a:off x="123316" y="67376"/>
            <a:ext cx="11925701" cy="1212783"/>
            <a:chOff x="123316" y="67376"/>
            <a:chExt cx="11925701" cy="1212783"/>
          </a:xfrm>
        </p:grpSpPr>
        <p:sp>
          <p:nvSpPr>
            <p:cNvPr id="4" name="Zaoblený obdélník 3"/>
            <p:cNvSpPr/>
            <p:nvPr/>
          </p:nvSpPr>
          <p:spPr>
            <a:xfrm>
              <a:off x="123316" y="67376"/>
              <a:ext cx="11925701" cy="1212783"/>
            </a:xfrm>
            <a:prstGeom prst="roundRect">
              <a:avLst/>
            </a:prstGeom>
            <a:solidFill>
              <a:srgbClr val="00538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Nadpis 1">
              <a:extLst>
                <a:ext uri="{FF2B5EF4-FFF2-40B4-BE49-F238E27FC236}">
                  <a16:creationId xmlns:a16="http://schemas.microsoft.com/office/drawing/2014/main" id="{50444CAE-0E11-4B1D-AD1D-5792ADA594DB}"/>
                </a:ext>
              </a:extLst>
            </p:cNvPr>
            <p:cNvSpPr txBox="1">
              <a:spLocks/>
            </p:cNvSpPr>
            <p:nvPr/>
          </p:nvSpPr>
          <p:spPr>
            <a:xfrm>
              <a:off x="1897065" y="144626"/>
              <a:ext cx="10039295" cy="827875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4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uton Normal" panose="02000506080000020004" pitchFamily="2" charset="0"/>
                  <a:ea typeface="+mj-ea"/>
                  <a:cs typeface="+mj-cs"/>
                </a:rPr>
                <a:t>Kontroly dodržování testování ve firmách ZK</a:t>
              </a:r>
              <a:endPara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uton Normal" panose="02000506080000020004" pitchFamily="2" charset="0"/>
                <a:ea typeface="+mj-ea"/>
                <a:cs typeface="+mj-cs"/>
              </a:endParaRPr>
            </a:p>
          </p:txBody>
        </p:sp>
        <p:pic>
          <p:nvPicPr>
            <p:cNvPr id="9" name="Obrázek 8">
              <a:extLst>
                <a:ext uri="{FF2B5EF4-FFF2-40B4-BE49-F238E27FC236}">
                  <a16:creationId xmlns:a16="http://schemas.microsoft.com/office/drawing/2014/main" id="{24572D85-A9D1-4A60-9210-67A538D236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862" y="452284"/>
              <a:ext cx="1524204" cy="368332"/>
            </a:xfrm>
            <a:prstGeom prst="rect">
              <a:avLst/>
            </a:prstGeom>
          </p:spPr>
        </p:pic>
      </p:grpSp>
      <p:pic>
        <p:nvPicPr>
          <p:cNvPr id="3" name="Obráze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6" y="1422610"/>
            <a:ext cx="4811149" cy="4945240"/>
          </a:xfrm>
          <a:prstGeom prst="rect">
            <a:avLst/>
          </a:prstGeom>
        </p:spPr>
      </p:pic>
      <p:pic>
        <p:nvPicPr>
          <p:cNvPr id="5" name="Obráze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8163" y="1422610"/>
            <a:ext cx="6020640" cy="1823098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6166" y="3329616"/>
            <a:ext cx="5020376" cy="3400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257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57882" y="1315028"/>
            <a:ext cx="5025081" cy="396433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</p:pic>
      <p:pic>
        <p:nvPicPr>
          <p:cNvPr id="5" name="Obráze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8822" y="1315028"/>
            <a:ext cx="6389149" cy="4434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7389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285" y="1318054"/>
            <a:ext cx="10655300" cy="5436973"/>
          </a:xfrm>
        </p:spPr>
      </p:pic>
    </p:spTree>
    <p:extLst>
      <p:ext uri="{BB962C8B-B14F-4D97-AF65-F5344CB8AC3E}">
        <p14:creationId xmlns:p14="http://schemas.microsoft.com/office/powerpoint/2010/main" val="1108607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961712" y="1276867"/>
            <a:ext cx="10655300" cy="535457"/>
          </a:xfrm>
          <a:solidFill>
            <a:srgbClr val="FFFFCC"/>
          </a:solidFill>
        </p:spPr>
        <p:txBody>
          <a:bodyPr/>
          <a:lstStyle/>
          <a:p>
            <a:pPr algn="ctr"/>
            <a:r>
              <a:rPr lang="cs-CZ" sz="2800" dirty="0" smtClean="0">
                <a:solidFill>
                  <a:schemeClr val="accent2"/>
                </a:solidFill>
              </a:rPr>
              <a:t>Výstupy z porady AKČR s ministerstvem zdravotnictví</a:t>
            </a:r>
          </a:p>
          <a:p>
            <a:pPr algn="ctr"/>
            <a:endParaRPr lang="cs-CZ" sz="2800" dirty="0">
              <a:solidFill>
                <a:schemeClr val="accent2"/>
              </a:solidFill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984194" y="2026508"/>
            <a:ext cx="10610335" cy="405906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SzPts val="1200"/>
              <a:buFont typeface="Wingdings" panose="05000000000000000000" pitchFamily="2" charset="2"/>
              <a:buChar char=""/>
            </a:pPr>
            <a:r>
              <a:rPr lang="cs-CZ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pidemie prokazatelně zpomaluje</a:t>
            </a:r>
            <a:r>
              <a:rPr lang="cs-CZ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diagnostická indikace klesá a klesá i relativní pozitivita testů, rovněž klesá populační zátěž, a to u všech věkových skupin.</a:t>
            </a: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SzPts val="1200"/>
              <a:buFont typeface="Wingdings" panose="05000000000000000000" pitchFamily="2" charset="2"/>
              <a:buChar char=""/>
            </a:pPr>
            <a:r>
              <a:rPr lang="cs-CZ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produkční číslo se pohybuje v rozmezí 0,7-0,9 </a:t>
            </a:r>
            <a:r>
              <a:rPr lang="cs-CZ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icméně situace zatím není bez rizika. I přes postupující vakcinaci má epidemie potenciál k růstu, v populaci je pořád vysokých počet tzv. vnímavých osob (osob, které se můžou nakazit). Proto je nezbytné rozvolňovat postupně, dopad rizika bude snižovat postupující vakcinace. </a:t>
            </a:r>
            <a:endParaRPr lang="cs-CZ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SzPts val="1200"/>
              <a:buFont typeface="Wingdings" panose="05000000000000000000" pitchFamily="2" charset="2"/>
              <a:buChar char=""/>
            </a:pPr>
            <a:r>
              <a:rPr lang="cs-CZ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zi regiony jsou pořád rozdíly, vláda o tom, jestli budou některé okresy v rámci rozvolňování opatření vyjmuty, </a:t>
            </a:r>
            <a:r>
              <a:rPr lang="cs-CZ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zhodne ve čtvrtek</a:t>
            </a:r>
            <a:r>
              <a:rPr lang="cs-CZ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cs-CZ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LÍNSKÝ KRAJ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SzPts val="1100"/>
              <a:buFont typeface="Wingdings" panose="05000000000000000000" pitchFamily="2" charset="2"/>
              <a:buChar char=""/>
            </a:pPr>
            <a:r>
              <a:rPr lang="cs-CZ" b="1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el hejtmana </a:t>
            </a:r>
            <a:r>
              <a:rPr lang="cs-CZ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 MZD, aby okresy v kraji z rozvolňování nevyloučilo, kraj nemá žádné větší ohnisko. </a:t>
            </a: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SzPts val="1200"/>
              <a:buFont typeface="Wingdings" panose="05000000000000000000" pitchFamily="2" charset="2"/>
              <a:buChar char=""/>
            </a:pPr>
            <a:endParaRPr lang="cs-CZ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SzPts val="1200"/>
              <a:buFont typeface="Wingdings" panose="05000000000000000000" pitchFamily="2" charset="2"/>
              <a:buChar char=""/>
            </a:pPr>
            <a:endParaRPr lang="cs-CZ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7601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830047" y="3193338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830047" y="3502064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830047" y="3810790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830047" y="4119516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830047" y="4428242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69804" y="3098672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9804" y="340996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9804" y="372125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069804" y="403254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069804" y="434383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830047" y="4736967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830047" y="5045691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9804" y="465512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9804" y="496641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09211" y="84986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7" name="TextBox 29">
            <a:extLst>
              <a:ext uri="{FF2B5EF4-FFF2-40B4-BE49-F238E27FC236}">
                <a16:creationId xmlns:a16="http://schemas.microsoft.com/office/drawing/2014/main" id="{87E38982-83E6-4A31-90DE-9A4BA427909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3726318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4.2021</a:t>
            </a:r>
          </a:p>
        </p:txBody>
      </p:sp>
      <p:sp>
        <p:nvSpPr>
          <p:cNvPr id="25" name="TextBox 29">
            <a:extLst>
              <a:ext uri="{FF2B5EF4-FFF2-40B4-BE49-F238E27FC236}">
                <a16:creationId xmlns:a16="http://schemas.microsoft.com/office/drawing/2014/main" id="{7CA4E8C6-F25D-45BE-B535-EB83BEB6C69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352482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.4.2021</a:t>
            </a:r>
          </a:p>
        </p:txBody>
      </p:sp>
      <p:sp>
        <p:nvSpPr>
          <p:cNvPr id="28" name="TextBox 29">
            <a:extLst>
              <a:ext uri="{FF2B5EF4-FFF2-40B4-BE49-F238E27FC236}">
                <a16:creationId xmlns:a16="http://schemas.microsoft.com/office/drawing/2014/main" id="{3DBBC5FB-25FD-4F7C-9593-FB03C44F692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09211" y="3823736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4.2021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614539" y="4397991"/>
            <a:ext cx="320057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dlouhodobě klesá ve všech regionech. Všechny kraje týdenní pokles počtu potvrzených případů v rozsahu cc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15% až – 20%.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0830047" y="2918672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069803" y="2854784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09A5A85-02BB-4360-A083-DF894E23F6BA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4399698" y="3823736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5.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2" name="Picture 21" descr="Map&#10;&#10;Description automatically generated">
            <a:extLst>
              <a:ext uri="{FF2B5EF4-FFF2-40B4-BE49-F238E27FC236}">
                <a16:creationId xmlns:a16="http://schemas.microsoft.com/office/drawing/2014/main" id="{242FD362-1BE1-449A-90F2-F2D73360B4D2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8" r="10139"/>
          <a:stretch/>
        </p:blipFill>
        <p:spPr>
          <a:xfrm>
            <a:off x="25421" y="1269000"/>
            <a:ext cx="3408594" cy="2160000"/>
          </a:xfrm>
          <a:prstGeom prst="rect">
            <a:avLst/>
          </a:prstGeom>
        </p:spPr>
      </p:pic>
      <p:pic>
        <p:nvPicPr>
          <p:cNvPr id="34" name="Picture 33" descr="Map&#10;&#10;Description automatically generated">
            <a:extLst>
              <a:ext uri="{FF2B5EF4-FFF2-40B4-BE49-F238E27FC236}">
                <a16:creationId xmlns:a16="http://schemas.microsoft.com/office/drawing/2014/main" id="{A098708D-3CF6-46C6-892B-DBE5B934C984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18" r="10138"/>
          <a:stretch/>
        </p:blipFill>
        <p:spPr>
          <a:xfrm>
            <a:off x="3493771" y="1277226"/>
            <a:ext cx="3411439" cy="2160000"/>
          </a:xfrm>
          <a:prstGeom prst="rect">
            <a:avLst/>
          </a:prstGeom>
        </p:spPr>
      </p:pic>
      <p:pic>
        <p:nvPicPr>
          <p:cNvPr id="36" name="Picture 35" descr="Map&#10;&#10;Description automatically generated">
            <a:extLst>
              <a:ext uri="{FF2B5EF4-FFF2-40B4-BE49-F238E27FC236}">
                <a16:creationId xmlns:a16="http://schemas.microsoft.com/office/drawing/2014/main" id="{A41A144F-BB34-4D14-A657-83516FD1140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38" r="10138"/>
          <a:stretch/>
        </p:blipFill>
        <p:spPr>
          <a:xfrm>
            <a:off x="7042943" y="1277226"/>
            <a:ext cx="3394368" cy="2160000"/>
          </a:xfrm>
          <a:prstGeom prst="rect">
            <a:avLst/>
          </a:prstGeom>
        </p:spPr>
      </p:pic>
      <p:pic>
        <p:nvPicPr>
          <p:cNvPr id="40" name="Picture 39" descr="Map&#10;&#10;Description automatically generated">
            <a:extLst>
              <a:ext uri="{FF2B5EF4-FFF2-40B4-BE49-F238E27FC236}">
                <a16:creationId xmlns:a16="http://schemas.microsoft.com/office/drawing/2014/main" id="{58C29F3E-6DC8-41AC-9E38-6D4C7B82EE2B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8" r="10139"/>
          <a:stretch/>
        </p:blipFill>
        <p:spPr>
          <a:xfrm>
            <a:off x="170333" y="4330643"/>
            <a:ext cx="3408594" cy="2160000"/>
          </a:xfrm>
          <a:prstGeom prst="rect">
            <a:avLst/>
          </a:prstGeom>
        </p:spPr>
      </p:pic>
      <p:pic>
        <p:nvPicPr>
          <p:cNvPr id="42" name="Picture 41" descr="Map&#10;&#10;Description automatically generated">
            <a:extLst>
              <a:ext uri="{FF2B5EF4-FFF2-40B4-BE49-F238E27FC236}">
                <a16:creationId xmlns:a16="http://schemas.microsoft.com/office/drawing/2014/main" id="{DDB38DC2-605F-44DD-B190-4C804E82A3FC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8" r="10138"/>
          <a:stretch/>
        </p:blipFill>
        <p:spPr>
          <a:xfrm>
            <a:off x="3821744" y="4224968"/>
            <a:ext cx="3400059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8425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Nadpis 1">
            <a:extLst>
              <a:ext uri="{FF2B5EF4-FFF2-40B4-BE49-F238E27FC236}">
                <a16:creationId xmlns:a16="http://schemas.microsoft.com/office/drawing/2014/main" id="{B7A5EB94-2EA2-4C0C-9E2D-1A450F1B65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Nové scénáře dlouhodobých simulací (z 3. 4. 2021): Zlín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337565AD-DC9F-4C37-9AA8-3AD83509735F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29" name="Obrázek 28">
              <a:extLst>
                <a:ext uri="{FF2B5EF4-FFF2-40B4-BE49-F238E27FC236}">
                  <a16:creationId xmlns:a16="http://schemas.microsoft.com/office/drawing/2014/main" id="{25BCF487-ADA1-4DD2-8F64-F1F515AE1FA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7" name="Obrázek 36">
              <a:extLst>
                <a:ext uri="{FF2B5EF4-FFF2-40B4-BE49-F238E27FC236}">
                  <a16:creationId xmlns:a16="http://schemas.microsoft.com/office/drawing/2014/main" id="{01891FBD-4CBA-4184-A150-49F7B0F4F9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06A73B17-A9E0-4EC7-A718-389A36095344}"/>
              </a:ext>
            </a:extLst>
          </p:cNvPr>
          <p:cNvSpPr txBox="1"/>
          <p:nvPr/>
        </p:nvSpPr>
        <p:spPr>
          <a:xfrm>
            <a:off x="19725" y="1336235"/>
            <a:ext cx="2326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E526F69C-061B-400F-9EA4-8D236FE4F49C}"/>
              </a:ext>
            </a:extLst>
          </p:cNvPr>
          <p:cNvSpPr txBox="1"/>
          <p:nvPr/>
        </p:nvSpPr>
        <p:spPr>
          <a:xfrm>
            <a:off x="3377109" y="850623"/>
            <a:ext cx="3817321" cy="338554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1: dílčí uvolnění opatření v dubnu</a:t>
            </a:r>
          </a:p>
        </p:txBody>
      </p:sp>
      <p:cxnSp>
        <p:nvCxnSpPr>
          <p:cNvPr id="40" name="Přímá spojnice se šipkou 39">
            <a:extLst>
              <a:ext uri="{FF2B5EF4-FFF2-40B4-BE49-F238E27FC236}">
                <a16:creationId xmlns:a16="http://schemas.microsoft.com/office/drawing/2014/main" id="{6447A09A-7A94-47B6-9634-29F2B331B804}"/>
              </a:ext>
            </a:extLst>
          </p:cNvPr>
          <p:cNvCxnSpPr/>
          <p:nvPr/>
        </p:nvCxnSpPr>
        <p:spPr>
          <a:xfrm flipV="1">
            <a:off x="2460413" y="1008941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Chart 4">
            <a:extLst>
              <a:ext uri="{FF2B5EF4-FFF2-40B4-BE49-F238E27FC236}">
                <a16:creationId xmlns:a16="http://schemas.microsoft.com/office/drawing/2014/main" id="{2AEC3A7A-D9FC-40B0-87E4-AAED92BEBBCC}"/>
              </a:ext>
            </a:extLst>
          </p:cNvPr>
          <p:cNvGraphicFramePr/>
          <p:nvPr>
            <p:extLst/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2" name="Obdélník 41">
            <a:extLst>
              <a:ext uri="{FF2B5EF4-FFF2-40B4-BE49-F238E27FC236}">
                <a16:creationId xmlns:a16="http://schemas.microsoft.com/office/drawing/2014/main" id="{40D6D5BC-338D-48C9-B6C2-AE4987390716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252A0766-1D43-4EAF-8032-45F3D5BFAFEC}"/>
              </a:ext>
            </a:extLst>
          </p:cNvPr>
          <p:cNvSpPr txBox="1"/>
          <p:nvPr/>
        </p:nvSpPr>
        <p:spPr>
          <a:xfrm>
            <a:off x="8472774" y="3006360"/>
            <a:ext cx="34373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V1</a:t>
            </a:r>
          </a:p>
        </p:txBody>
      </p:sp>
      <p:cxnSp>
        <p:nvCxnSpPr>
          <p:cNvPr id="44" name="Přímá spojnice 43">
            <a:extLst>
              <a:ext uri="{FF2B5EF4-FFF2-40B4-BE49-F238E27FC236}">
                <a16:creationId xmlns:a16="http://schemas.microsoft.com/office/drawing/2014/main" id="{F2893FEE-EB9B-4443-80EE-822AE0150A19}"/>
              </a:ext>
            </a:extLst>
          </p:cNvPr>
          <p:cNvCxnSpPr>
            <a:cxnSpLocks/>
          </p:cNvCxnSpPr>
          <p:nvPr/>
        </p:nvCxnSpPr>
        <p:spPr>
          <a:xfrm>
            <a:off x="8178029" y="3169425"/>
            <a:ext cx="237744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EB26FAFA-7186-4658-9105-3C52AA2FEA33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" name="Obdélník 45">
            <a:extLst>
              <a:ext uri="{FF2B5EF4-FFF2-40B4-BE49-F238E27FC236}">
                <a16:creationId xmlns:a16="http://schemas.microsoft.com/office/drawing/2014/main" id="{82217505-0C1A-43A2-9859-05A43FB78191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V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Rozpo</a:t>
            </a: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čet do krajů proveden s využitím regionálních trendů v období 26.3.-2.4.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, pro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budouc</a:t>
            </a: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í období je zatížen značnou neurčitostí.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cxnSp>
        <p:nvCxnSpPr>
          <p:cNvPr id="47" name="Přímá spojnice se šipkou 46">
            <a:extLst>
              <a:ext uri="{FF2B5EF4-FFF2-40B4-BE49-F238E27FC236}">
                <a16:creationId xmlns:a16="http://schemas.microsoft.com/office/drawing/2014/main" id="{B177163D-A010-4B71-9604-7B46DF7005EC}"/>
              </a:ext>
            </a:extLst>
          </p:cNvPr>
          <p:cNvCxnSpPr>
            <a:cxnSpLocks/>
          </p:cNvCxnSpPr>
          <p:nvPr/>
        </p:nvCxnSpPr>
        <p:spPr>
          <a:xfrm flipV="1">
            <a:off x="2460413" y="1499310"/>
            <a:ext cx="840571" cy="1067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B5E76719-1AC2-4133-B955-CE1DDF54E383}"/>
              </a:ext>
            </a:extLst>
          </p:cNvPr>
          <p:cNvSpPr txBox="1"/>
          <p:nvPr/>
        </p:nvSpPr>
        <p:spPr>
          <a:xfrm>
            <a:off x="3373408" y="1345422"/>
            <a:ext cx="3821021" cy="338554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2: vakcinace/pomalý efekt</a:t>
            </a:r>
          </a:p>
        </p:txBody>
      </p: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0E647ED5-958E-409F-B927-1D0386C3319B}"/>
              </a:ext>
            </a:extLst>
          </p:cNvPr>
          <p:cNvSpPr txBox="1"/>
          <p:nvPr/>
        </p:nvSpPr>
        <p:spPr>
          <a:xfrm>
            <a:off x="3373408" y="1824837"/>
            <a:ext cx="3821021" cy="338554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3: vakcinace/rychlý efekt</a:t>
            </a: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47C10B0E-65E3-4117-9559-F5F00B84612D}"/>
              </a:ext>
            </a:extLst>
          </p:cNvPr>
          <p:cNvSpPr txBox="1"/>
          <p:nvPr/>
        </p:nvSpPr>
        <p:spPr>
          <a:xfrm>
            <a:off x="8472774" y="3268417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V2</a:t>
            </a:r>
          </a:p>
        </p:txBody>
      </p:sp>
      <p:cxnSp>
        <p:nvCxnSpPr>
          <p:cNvPr id="51" name="Přímá spojnice 50">
            <a:extLst>
              <a:ext uri="{FF2B5EF4-FFF2-40B4-BE49-F238E27FC236}">
                <a16:creationId xmlns:a16="http://schemas.microsoft.com/office/drawing/2014/main" id="{129C7076-1CE3-491F-879F-020E6481467D}"/>
              </a:ext>
            </a:extLst>
          </p:cNvPr>
          <p:cNvCxnSpPr>
            <a:cxnSpLocks/>
          </p:cNvCxnSpPr>
          <p:nvPr/>
        </p:nvCxnSpPr>
        <p:spPr>
          <a:xfrm>
            <a:off x="8178029" y="3404430"/>
            <a:ext cx="237744" cy="0"/>
          </a:xfrm>
          <a:prstGeom prst="line">
            <a:avLst/>
          </a:prstGeom>
          <a:ln w="38100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AF590DD0-7C13-4C41-AD1F-9EB19549A0F5}"/>
              </a:ext>
            </a:extLst>
          </p:cNvPr>
          <p:cNvSpPr txBox="1"/>
          <p:nvPr/>
        </p:nvSpPr>
        <p:spPr>
          <a:xfrm>
            <a:off x="8472774" y="3513510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V3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7F140BAF-CC87-422B-AFBF-915867D40427}"/>
              </a:ext>
            </a:extLst>
          </p:cNvPr>
          <p:cNvCxnSpPr>
            <a:cxnSpLocks/>
          </p:cNvCxnSpPr>
          <p:nvPr/>
        </p:nvCxnSpPr>
        <p:spPr>
          <a:xfrm>
            <a:off x="8178029" y="3649523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6">
            <a:extLst>
              <a:ext uri="{FF2B5EF4-FFF2-40B4-BE49-F238E27FC236}">
                <a16:creationId xmlns:a16="http://schemas.microsoft.com/office/drawing/2014/main" id="{8B8A8F49-D61D-4349-BBF7-0DC958E3E9D7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5" name="Přímá spojnice se šipkou 54">
            <a:extLst>
              <a:ext uri="{FF2B5EF4-FFF2-40B4-BE49-F238E27FC236}">
                <a16:creationId xmlns:a16="http://schemas.microsoft.com/office/drawing/2014/main" id="{7B766AC8-D924-444F-82CF-0451918A398A}"/>
              </a:ext>
            </a:extLst>
          </p:cNvPr>
          <p:cNvCxnSpPr>
            <a:cxnSpLocks/>
          </p:cNvCxnSpPr>
          <p:nvPr/>
        </p:nvCxnSpPr>
        <p:spPr>
          <a:xfrm>
            <a:off x="2460412" y="1680338"/>
            <a:ext cx="776564" cy="2515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bdélník 55">
            <a:extLst>
              <a:ext uri="{FF2B5EF4-FFF2-40B4-BE49-F238E27FC236}">
                <a16:creationId xmlns:a16="http://schemas.microsoft.com/office/drawing/2014/main" id="{5F75980E-CBD3-4A81-A9FD-05F53E24C82F}"/>
              </a:ext>
            </a:extLst>
          </p:cNvPr>
          <p:cNvSpPr/>
          <p:nvPr/>
        </p:nvSpPr>
        <p:spPr>
          <a:xfrm>
            <a:off x="8472774" y="3793953"/>
            <a:ext cx="183736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V ze dne 3. 4. 2021)</a:t>
            </a:r>
          </a:p>
        </p:txBody>
      </p:sp>
    </p:spTree>
    <p:extLst>
      <p:ext uri="{BB962C8B-B14F-4D97-AF65-F5344CB8AC3E}">
        <p14:creationId xmlns:p14="http://schemas.microsoft.com/office/powerpoint/2010/main" val="40865244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B13013BC-1334-4337-BE17-A3EC149B38D5}"/>
              </a:ext>
            </a:extLst>
          </p:cNvPr>
          <p:cNvGraphicFramePr/>
          <p:nvPr>
            <p:extLst/>
          </p:nvPr>
        </p:nvGraphicFramePr>
        <p:xfrm>
          <a:off x="556549" y="3369585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173293" y="1039836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712537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, R = 1,1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80372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ýrazného zpomalení (R = 0,75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938091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>
            <a:cxnSpLocks/>
          </p:cNvCxnSpPr>
          <p:nvPr/>
        </p:nvCxnSpPr>
        <p:spPr>
          <a:xfrm>
            <a:off x="4154743" y="1577006"/>
            <a:ext cx="523875" cy="4172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365161" y="2055302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3449363" y="233888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Nadpis 1">
            <a:extLst>
              <a:ext uri="{FF2B5EF4-FFF2-40B4-BE49-F238E27FC236}">
                <a16:creationId xmlns:a16="http://schemas.microsoft.com/office/drawing/2014/main" id="{51B20062-4FDB-4E3A-B181-A12B1B8BFC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Zlínský kraj</a:t>
            </a:r>
          </a:p>
        </p:txBody>
      </p:sp>
      <p:grpSp>
        <p:nvGrpSpPr>
          <p:cNvPr id="33" name="Skupina 32">
            <a:extLst>
              <a:ext uri="{FF2B5EF4-FFF2-40B4-BE49-F238E27FC236}">
                <a16:creationId xmlns:a16="http://schemas.microsoft.com/office/drawing/2014/main" id="{4B63EA95-BF1D-485D-8B4E-20A163530A4F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5CF3D74B-8BF8-41BD-9AC6-578D2A612F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5" name="Obrázek 34">
              <a:extLst>
                <a:ext uri="{FF2B5EF4-FFF2-40B4-BE49-F238E27FC236}">
                  <a16:creationId xmlns:a16="http://schemas.microsoft.com/office/drawing/2014/main" id="{75C2BC84-6AFD-42EE-A7AD-88D12B2275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286428F-1335-468F-86CE-35024D402D5A}"/>
              </a:ext>
            </a:extLst>
          </p:cNvPr>
          <p:cNvSpPr txBox="1"/>
          <p:nvPr/>
        </p:nvSpPr>
        <p:spPr>
          <a:xfrm>
            <a:off x="1481184" y="2728139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1BFA760A-2518-4897-A508-B202EC518FC2}"/>
              </a:ext>
            </a:extLst>
          </p:cNvPr>
          <p:cNvCxnSpPr>
            <a:cxnSpLocks/>
          </p:cNvCxnSpPr>
          <p:nvPr/>
        </p:nvCxnSpPr>
        <p:spPr>
          <a:xfrm>
            <a:off x="1186439" y="2883174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378F2B7B-9EB0-454E-8E54-865C3A10D077}"/>
              </a:ext>
            </a:extLst>
          </p:cNvPr>
          <p:cNvSpPr txBox="1"/>
          <p:nvPr/>
        </p:nvSpPr>
        <p:spPr>
          <a:xfrm>
            <a:off x="1481184" y="2953359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F6D7322B-943E-4279-B690-E193C89E8884}"/>
              </a:ext>
            </a:extLst>
          </p:cNvPr>
          <p:cNvCxnSpPr>
            <a:cxnSpLocks/>
          </p:cNvCxnSpPr>
          <p:nvPr/>
        </p:nvCxnSpPr>
        <p:spPr>
          <a:xfrm>
            <a:off x="1186439" y="3106481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121931F4-D99C-440F-970A-413288770ECC}"/>
              </a:ext>
            </a:extLst>
          </p:cNvPr>
          <p:cNvSpPr txBox="1"/>
          <p:nvPr/>
        </p:nvSpPr>
        <p:spPr>
          <a:xfrm>
            <a:off x="1481184" y="3178579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D461DC42-D2EF-4426-A269-DFCF085387B8}"/>
              </a:ext>
            </a:extLst>
          </p:cNvPr>
          <p:cNvCxnSpPr>
            <a:cxnSpLocks/>
          </p:cNvCxnSpPr>
          <p:nvPr/>
        </p:nvCxnSpPr>
        <p:spPr>
          <a:xfrm>
            <a:off x="1186439" y="3329788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87E577DE-7DE7-4458-8374-D95BAB0CDDFF}"/>
              </a:ext>
            </a:extLst>
          </p:cNvPr>
          <p:cNvCxnSpPr>
            <a:cxnSpLocks/>
          </p:cNvCxnSpPr>
          <p:nvPr/>
        </p:nvCxnSpPr>
        <p:spPr>
          <a:xfrm>
            <a:off x="1186439" y="3553094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F15BF8FA-EDC1-4176-82C6-576BEE9757CC}"/>
              </a:ext>
            </a:extLst>
          </p:cNvPr>
          <p:cNvSpPr txBox="1"/>
          <p:nvPr/>
        </p:nvSpPr>
        <p:spPr>
          <a:xfrm>
            <a:off x="1473327" y="3403798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4. 2021, R aplikováno od 19. 4.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FA22D4C0-CAFB-4B21-8FB3-22AE7C7EF541}"/>
              </a:ext>
            </a:extLst>
          </p:cNvPr>
          <p:cNvSpPr txBox="1"/>
          <p:nvPr/>
        </p:nvSpPr>
        <p:spPr>
          <a:xfrm>
            <a:off x="3746543" y="230281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09E97700-40F1-4B9F-9E87-00FA546ED0B2}"/>
              </a:ext>
            </a:extLst>
          </p:cNvPr>
          <p:cNvSpPr txBox="1"/>
          <p:nvPr/>
        </p:nvSpPr>
        <p:spPr>
          <a:xfrm>
            <a:off x="9974883" y="2766251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73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2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86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6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16DD2BC6-5397-4627-834B-286863012257}"/>
              </a:ext>
            </a:extLst>
          </p:cNvPr>
          <p:cNvSpPr txBox="1"/>
          <p:nvPr/>
        </p:nvSpPr>
        <p:spPr>
          <a:xfrm>
            <a:off x="8027883" y="3261136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5. 2021</a:t>
            </a:r>
          </a:p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87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28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54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0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6836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6888088" y="476672"/>
            <a:ext cx="3168352" cy="360039"/>
          </a:xfrm>
        </p:spPr>
        <p:txBody>
          <a:bodyPr/>
          <a:lstStyle/>
          <a:p>
            <a:r>
              <a:rPr lang="cs-CZ" dirty="0">
                <a:solidFill>
                  <a:schemeClr val="tx1"/>
                </a:solidFill>
              </a:rPr>
              <a:t>Program jednání: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1268760"/>
            <a:ext cx="12144672" cy="6408712"/>
          </a:xfrm>
        </p:spPr>
        <p:txBody>
          <a:bodyPr/>
          <a:lstStyle/>
          <a:p>
            <a:pPr marL="0" indent="0" algn="just">
              <a:lnSpc>
                <a:spcPct val="90000"/>
              </a:lnSpc>
            </a:pPr>
            <a:endParaRPr lang="cs-CZ" sz="2400" b="1" dirty="0" smtClean="0"/>
          </a:p>
          <a:p>
            <a:pPr marL="0" indent="0" algn="just">
              <a:lnSpc>
                <a:spcPct val="90000"/>
              </a:lnSpc>
            </a:pPr>
            <a:r>
              <a:rPr lang="cs-CZ" sz="2400" b="1" dirty="0" smtClean="0"/>
              <a:t>Úvod</a:t>
            </a:r>
          </a:p>
          <a:p>
            <a:pPr marL="457200" indent="-457200" algn="just">
              <a:lnSpc>
                <a:spcPct val="90000"/>
              </a:lnSpc>
              <a:buAutoNum type="arabicPeriod"/>
            </a:pPr>
            <a:r>
              <a:rPr lang="cs-CZ" sz="2400" b="1" dirty="0" smtClean="0"/>
              <a:t>Informace o aktuální EPI situaci a predikce vývoje ve ZK</a:t>
            </a:r>
          </a:p>
          <a:p>
            <a:pPr marL="457200" indent="-457200" algn="just">
              <a:lnSpc>
                <a:spcPct val="90000"/>
              </a:lnSpc>
              <a:buAutoNum type="arabicPeriod"/>
            </a:pPr>
            <a:r>
              <a:rPr lang="cs-CZ" sz="2400" b="1" dirty="0" smtClean="0"/>
              <a:t>Informace o situaci v nemocnicích ZK</a:t>
            </a:r>
          </a:p>
          <a:p>
            <a:pPr marL="457200" indent="-457200" algn="just">
              <a:lnSpc>
                <a:spcPct val="90000"/>
              </a:lnSpc>
              <a:buFontTx/>
              <a:buAutoNum type="arabicPeriod"/>
            </a:pPr>
            <a:r>
              <a:rPr lang="cs-CZ" sz="2400" b="1" dirty="0"/>
              <a:t>Informace ředitele KŘ policie ZK</a:t>
            </a:r>
          </a:p>
          <a:p>
            <a:pPr marL="457200" indent="-457200" algn="just">
              <a:lnSpc>
                <a:spcPct val="90000"/>
              </a:lnSpc>
              <a:buAutoNum type="arabicPeriod"/>
            </a:pPr>
            <a:r>
              <a:rPr lang="cs-CZ" sz="2400" b="1" dirty="0" smtClean="0"/>
              <a:t>Informace o situaci v zařízeních sociálních služeb</a:t>
            </a:r>
          </a:p>
          <a:p>
            <a:pPr marL="457200" indent="-457200" algn="just">
              <a:lnSpc>
                <a:spcPct val="90000"/>
              </a:lnSpc>
              <a:buAutoNum type="arabicPeriod"/>
            </a:pPr>
            <a:r>
              <a:rPr lang="cs-CZ" sz="2400" b="1" dirty="0" smtClean="0"/>
              <a:t>Informace z oblasti školství</a:t>
            </a:r>
          </a:p>
          <a:p>
            <a:pPr marL="457200" indent="-457200" algn="just">
              <a:lnSpc>
                <a:spcPct val="90000"/>
              </a:lnSpc>
              <a:buFontTx/>
              <a:buAutoNum type="arabicPeriod"/>
            </a:pPr>
            <a:r>
              <a:rPr lang="cs-CZ" sz="2400" b="1" dirty="0" smtClean="0"/>
              <a:t>Průběh vakcinace ve ZK</a:t>
            </a:r>
          </a:p>
          <a:p>
            <a:pPr marL="457200" indent="-457200" algn="just">
              <a:lnSpc>
                <a:spcPct val="90000"/>
              </a:lnSpc>
              <a:buAutoNum type="arabicPeriod"/>
            </a:pPr>
            <a:r>
              <a:rPr lang="cs-CZ" sz="2400" b="1" dirty="0" smtClean="0"/>
              <a:t>Různé</a:t>
            </a:r>
          </a:p>
          <a:p>
            <a:pPr marL="0" indent="0" algn="just">
              <a:lnSpc>
                <a:spcPct val="90000"/>
              </a:lnSpc>
            </a:pPr>
            <a:r>
              <a:rPr lang="cs-CZ" sz="2400" b="1" dirty="0" smtClean="0"/>
              <a:t>Závěr</a:t>
            </a:r>
          </a:p>
          <a:p>
            <a:pPr marL="0" indent="0" algn="just">
              <a:lnSpc>
                <a:spcPct val="90000"/>
              </a:lnSpc>
            </a:pPr>
            <a:endParaRPr lang="cs-CZ" sz="2400" b="1" dirty="0"/>
          </a:p>
        </p:txBody>
      </p:sp>
    </p:spTree>
    <p:extLst>
      <p:ext uri="{BB962C8B-B14F-4D97-AF65-F5344CB8AC3E}">
        <p14:creationId xmlns:p14="http://schemas.microsoft.com/office/powerpoint/2010/main" val="3918377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76225" y="-471488"/>
            <a:ext cx="12744450" cy="780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984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b="1" dirty="0"/>
              <a:t>Nově </a:t>
            </a:r>
            <a:r>
              <a:rPr lang="pl-PL" sz="2000" b="1" dirty="0" smtClean="0"/>
              <a:t>diagnostikovaní symptomatičtí pacienti za </a:t>
            </a:r>
            <a:r>
              <a:rPr lang="pl-PL" sz="2000" b="1" dirty="0"/>
              <a:t>7 dní na 100 000 obyvatel: </a:t>
            </a:r>
            <a:br>
              <a:rPr lang="pl-PL" sz="2000" b="1" dirty="0"/>
            </a:br>
            <a:r>
              <a:rPr lang="pl-PL" sz="2000" b="1" dirty="0"/>
              <a:t>srovnání krajů k </a:t>
            </a:r>
            <a:r>
              <a:rPr lang="cs-CZ" sz="2000" b="1" dirty="0"/>
              <a:t>1</a:t>
            </a:r>
            <a:r>
              <a:rPr lang="pl-PL" sz="2000" b="1" dirty="0"/>
              <a:t>.5.</a:t>
            </a:r>
            <a:endParaRPr lang="cs-CZ" sz="2000" b="1" dirty="0"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D1E585-3993-416C-AF95-42C197FE79D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764747" y="853052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72D653-29BB-46C3-83F2-8221BA928DD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933483" y="789163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80593F-C2D7-48EC-9C6F-8A8D60EF292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996648" y="846909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D4B11B-8579-446E-91AF-8288C6B4363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28205" y="783020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AB7E79-4343-403B-91F5-3309618E2A1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152409" y="840381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0394B2-B166-4AEA-96C1-E480F847DC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303016" y="776492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919" y="3839117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61013867"/>
              </p:ext>
            </p:extLst>
          </p:nvPr>
        </p:nvGraphicFramePr>
        <p:xfrm>
          <a:off x="4614696" y="1146877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18887881"/>
              </p:ext>
            </p:extLst>
          </p:nvPr>
        </p:nvGraphicFramePr>
        <p:xfrm>
          <a:off x="224224" y="1146877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274530" y="1479553"/>
            <a:ext cx="3489956" cy="193899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mto indikátoru jsou patrné velké rozdíly mezi regiony. </a:t>
            </a: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jvyšší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přetrvává ve Zlínském a dále v Jihočeském kraji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37935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</a:t>
            </a:r>
            <a:r>
              <a:rPr lang="cs-CZ" dirty="0" smtClean="0"/>
              <a:t>3.5.</a:t>
            </a:r>
            <a:endParaRPr lang="cs-CZ" dirty="0"/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6697362" y="961979"/>
            <a:ext cx="5267477" cy="19389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regiony stále existují významné rozdíly, které stále odpovídají gradientu rostoucího rizika „západ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východ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“ země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ciálně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zikový je zejména kraj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a dále kraj Jihočeský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1119257"/>
              </p:ext>
            </p:extLst>
          </p:nvPr>
        </p:nvGraphicFramePr>
        <p:xfrm>
          <a:off x="579564" y="1033447"/>
          <a:ext cx="6019644" cy="5242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64525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502559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852560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</a:tblGrid>
              <a:tr h="166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effectLst/>
                        </a:rPr>
                        <a:t>Název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kraje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effectLst/>
                        </a:rPr>
                        <a:t>Denní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počet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nových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případů</a:t>
                      </a:r>
                      <a:r>
                        <a:rPr lang="en-US" sz="1600" b="1" dirty="0">
                          <a:effectLst/>
                        </a:rPr>
                        <a:t> (%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7denní </a:t>
                      </a:r>
                      <a:r>
                        <a:rPr lang="en-US" sz="1600" b="1" dirty="0" err="1">
                          <a:effectLst/>
                        </a:rPr>
                        <a:t>počet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nových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případů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na</a:t>
                      </a:r>
                      <a:r>
                        <a:rPr lang="en-US" sz="1600" b="1" dirty="0">
                          <a:effectLst/>
                        </a:rPr>
                        <a:t> 100 tis. </a:t>
                      </a:r>
                      <a:r>
                        <a:rPr lang="en-US" sz="1600" b="1" dirty="0" err="1">
                          <a:effectLst/>
                        </a:rPr>
                        <a:t>obyv</a:t>
                      </a:r>
                      <a:r>
                        <a:rPr lang="en-US" sz="1600" b="1" dirty="0">
                          <a:effectLst/>
                        </a:rPr>
                        <a:t>.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Moravskoslez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320 (14.4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160.9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76250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effectLst/>
                        </a:rPr>
                        <a:t>Středočeský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85 (12.9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108.3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effectLst/>
                        </a:rPr>
                        <a:t>Hlavní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město</a:t>
                      </a:r>
                      <a:r>
                        <a:rPr lang="en-US" sz="1600" dirty="0">
                          <a:effectLst/>
                        </a:rPr>
                        <a:t> Praha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56 (11.6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07.9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Úst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231 (10.4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74.2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Jihomorav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211 (9.5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31.8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Olomou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178 (8.0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47.6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rgbClr val="FF0000"/>
                          </a:solidFill>
                          <a:effectLst/>
                        </a:rPr>
                        <a:t>Jihočeský</a:t>
                      </a:r>
                      <a:r>
                        <a:rPr lang="en-US" sz="1600" dirty="0">
                          <a:solidFill>
                            <a:srgbClr val="FF0000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rgbClr val="FF0000"/>
                          </a:solidFill>
                          <a:effectLst/>
                        </a:rPr>
                        <a:t>kraj</a:t>
                      </a:r>
                      <a:endParaRPr lang="cs-CZ" sz="16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FF0000"/>
                          </a:solidFill>
                          <a:effectLst/>
                        </a:rPr>
                        <a:t>157 (7.1 %)</a:t>
                      </a:r>
                      <a:endParaRPr lang="cs-CZ" sz="16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FF0000"/>
                          </a:solidFill>
                          <a:effectLst/>
                        </a:rPr>
                        <a:t>198.4</a:t>
                      </a:r>
                      <a:endParaRPr lang="cs-CZ" sz="16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641128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FF0000"/>
                          </a:solidFill>
                          <a:effectLst/>
                        </a:rPr>
                        <a:t>Zlínský</a:t>
                      </a:r>
                      <a:r>
                        <a:rPr lang="en-US" sz="1600" b="1" dirty="0">
                          <a:solidFill>
                            <a:srgbClr val="FF0000"/>
                          </a:solidFill>
                          <a:effectLst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FF0000"/>
                          </a:solidFill>
                          <a:effectLst/>
                        </a:rPr>
                        <a:t>kraj</a:t>
                      </a:r>
                      <a:endParaRPr lang="cs-CZ" sz="16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FF0000"/>
                          </a:solidFill>
                          <a:effectLst/>
                        </a:rPr>
                        <a:t>157 (7.1 %)</a:t>
                      </a:r>
                      <a:endParaRPr lang="cs-CZ" sz="16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FF0000"/>
                          </a:solidFill>
                          <a:effectLst/>
                        </a:rPr>
                        <a:t>200.0</a:t>
                      </a:r>
                      <a:endParaRPr lang="cs-CZ" sz="2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effectLst/>
                        </a:rPr>
                        <a:t>Pardubický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36 (6.1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03.1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Liber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111 (5.0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04.4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Kraj Vysočin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79 (3.6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73.4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chemeClr val="bg1"/>
                          </a:solidFill>
                          <a:effectLst/>
                        </a:rPr>
                        <a:t>Plzeňský</a:t>
                      </a:r>
                      <a:r>
                        <a:rPr lang="en-US" sz="16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bg1"/>
                          </a:solidFill>
                          <a:effectLst/>
                        </a:rPr>
                        <a:t>kraj</a:t>
                      </a:r>
                      <a:endParaRPr lang="cs-CZ" sz="1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effectLst/>
                        </a:rPr>
                        <a:t>55 (2.5 %)</a:t>
                      </a:r>
                      <a:endParaRPr lang="cs-CZ" sz="1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effectLst/>
                        </a:rPr>
                        <a:t>76.8</a:t>
                      </a:r>
                      <a:endParaRPr lang="cs-CZ" sz="1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bg1"/>
                          </a:solidFill>
                          <a:effectLst/>
                        </a:rPr>
                        <a:t>Královéhradecký kraj</a:t>
                      </a:r>
                      <a:endParaRPr lang="cs-CZ" sz="1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effectLst/>
                        </a:rPr>
                        <a:t>26 (1.2 %)</a:t>
                      </a:r>
                      <a:endParaRPr lang="cs-CZ" sz="1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effectLst/>
                        </a:rPr>
                        <a:t>49.9</a:t>
                      </a:r>
                      <a:endParaRPr lang="cs-CZ" sz="1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bg1"/>
                          </a:solidFill>
                          <a:effectLst/>
                        </a:rPr>
                        <a:t>Karlovarský kraj</a:t>
                      </a:r>
                      <a:endParaRPr lang="cs-CZ" sz="1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bg1"/>
                          </a:solidFill>
                          <a:effectLst/>
                        </a:rPr>
                        <a:t>8 (0.4 %)</a:t>
                      </a:r>
                      <a:endParaRPr lang="cs-CZ" sz="1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effectLst/>
                        </a:rPr>
                        <a:t>47.2</a:t>
                      </a:r>
                      <a:endParaRPr lang="cs-CZ" sz="1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ČR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2,216 (100.0 %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131.1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57212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5360" y="1412776"/>
            <a:ext cx="10655300" cy="576262"/>
          </a:xfrm>
          <a:solidFill>
            <a:srgbClr val="F3FBA3"/>
          </a:solidFill>
        </p:spPr>
        <p:txBody>
          <a:bodyPr/>
          <a:lstStyle/>
          <a:p>
            <a:r>
              <a:rPr lang="cs-CZ" dirty="0">
                <a:solidFill>
                  <a:schemeClr val="accent2"/>
                </a:solidFill>
              </a:rPr>
              <a:t>Informace ředitele KŘ policie </a:t>
            </a:r>
            <a:r>
              <a:rPr lang="cs-CZ" dirty="0" smtClean="0">
                <a:solidFill>
                  <a:schemeClr val="accent2"/>
                </a:solidFill>
              </a:rPr>
              <a:t>ZK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35360" y="2060575"/>
            <a:ext cx="10655300" cy="3816350"/>
          </a:xfrm>
          <a:solidFill>
            <a:schemeClr val="accent1"/>
          </a:solidFill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cs-CZ" sz="2400" dirty="0" smtClean="0"/>
              <a:t>Informace z výsledků kontrol dodržování opatření MZ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2400" dirty="0" smtClean="0"/>
              <a:t>Dotazy starostů</a:t>
            </a:r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1804588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318421" y="94911"/>
            <a:ext cx="54386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93A30C-13C1-48B0-8E66-4452BB2AA16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900378"/>
            <a:ext cx="1900937" cy="1908215"/>
            <a:chOff x="10258697" y="3526984"/>
            <a:chExt cx="1900937" cy="2050641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B909AD-5289-44A3-B1F2-3B9234B8E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EA18967-C642-4BF3-B34F-32EEB41C01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21846B38-EB34-4DB8-A436-D436168812D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ovéPole 28">
              <a:extLst>
                <a:ext uri="{FF2B5EF4-FFF2-40B4-BE49-F238E27FC236}">
                  <a16:creationId xmlns:a16="http://schemas.microsoft.com/office/drawing/2014/main" id="{73BB0644-34DD-4DA4-BD0A-DF4A8CE2ED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2050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B9E18A0F-634C-4FB8-9C2E-7529D9949A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A2B38171-9386-487D-86F3-56F99584F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F19E8777-E529-4D78-A385-53734F5DCF26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3.–2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4.–9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4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1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4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6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3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17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/>
          </p:nvPr>
        </p:nvGraphicFramePr>
        <p:xfrm>
          <a:off x="381739" y="1856481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18" name="Obrázek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3110" y="88737"/>
            <a:ext cx="5779509" cy="65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8556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9467872-2E2D-483D-9051-248F9B679CD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A5D4EF8-791B-4AC7-95EC-26F641E5D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F39631-D007-4DCC-BE9F-1756C7735E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A948540E-6D40-49FE-B36C-8A36C14B109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69C4313E-E871-45D7-A260-E9B39E1AF38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7A5BB3-D390-4057-9107-0BFDE16D70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715DD8-1FB5-4345-AED7-D5983CB935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F1A43C80-A675-4E6B-9A4A-519FE17A605F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3.–2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4.–9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17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/>
          </p:nvPr>
        </p:nvGraphicFramePr>
        <p:xfrm>
          <a:off x="557349" y="1772386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032720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r>
              <a:rPr lang="en-US" u="sng" dirty="0">
                <a:latin typeface="+mj-lt"/>
              </a:rPr>
              <a:t> </a:t>
            </a:r>
            <a:r>
              <a:rPr lang="en-US" u="sng" dirty="0" err="1">
                <a:latin typeface="+mj-lt"/>
              </a:rPr>
              <a:t>na</a:t>
            </a:r>
            <a:r>
              <a:rPr lang="en-US" u="sng" dirty="0">
                <a:latin typeface="+mj-lt"/>
              </a:rPr>
              <a:t> JIP</a:t>
            </a:r>
            <a:endParaRPr lang="cs-CZ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B364D7-B9DD-4ACF-A330-0F27E8BA3BF5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544736" y="1224923"/>
            <a:ext cx="3328687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: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lný dopad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tření, rychlé brždění epidemie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563589" y="2108261"/>
            <a:ext cx="3328687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/pomalý efekt</a:t>
            </a: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563589" y="2648033"/>
            <a:ext cx="3328687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2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/rychlý efekt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8563589" y="3289955"/>
            <a:ext cx="330983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malý efekt vakcinace předpokládá dosažení plné ochrany až 14 dní po 2. dávce. Rychlý efekt naopak kalkuluje s ochranou očkovaného již po 1. dávce vakcinac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 patrné, že na počtech hospitalizovaných na JIP se efekt vakcinace zatím projevuje pouze částečně, a to až od počátku května 2021.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96012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6052269"/>
              </p:ext>
            </p:extLst>
          </p:nvPr>
        </p:nvGraphicFramePr>
        <p:xfrm>
          <a:off x="1029730" y="993209"/>
          <a:ext cx="9185188" cy="5350181"/>
        </p:xfrm>
        <a:graphic>
          <a:graphicData uri="http://schemas.openxmlformats.org/drawingml/2006/table">
            <a:tbl>
              <a:tblPr/>
              <a:tblGrid>
                <a:gridCol w="2007766">
                  <a:extLst>
                    <a:ext uri="{9D8B030D-6E8A-4147-A177-3AD203B41FA5}">
                      <a16:colId xmlns:a16="http://schemas.microsoft.com/office/drawing/2014/main" val="436946821"/>
                    </a:ext>
                  </a:extLst>
                </a:gridCol>
                <a:gridCol w="1229243">
                  <a:extLst>
                    <a:ext uri="{9D8B030D-6E8A-4147-A177-3AD203B41FA5}">
                      <a16:colId xmlns:a16="http://schemas.microsoft.com/office/drawing/2014/main" val="3142066130"/>
                    </a:ext>
                  </a:extLst>
                </a:gridCol>
                <a:gridCol w="1137052">
                  <a:extLst>
                    <a:ext uri="{9D8B030D-6E8A-4147-A177-3AD203B41FA5}">
                      <a16:colId xmlns:a16="http://schemas.microsoft.com/office/drawing/2014/main" val="235106167"/>
                    </a:ext>
                  </a:extLst>
                </a:gridCol>
                <a:gridCol w="1133637">
                  <a:extLst>
                    <a:ext uri="{9D8B030D-6E8A-4147-A177-3AD203B41FA5}">
                      <a16:colId xmlns:a16="http://schemas.microsoft.com/office/drawing/2014/main" val="280338391"/>
                    </a:ext>
                  </a:extLst>
                </a:gridCol>
                <a:gridCol w="1174611">
                  <a:extLst>
                    <a:ext uri="{9D8B030D-6E8A-4147-A177-3AD203B41FA5}">
                      <a16:colId xmlns:a16="http://schemas.microsoft.com/office/drawing/2014/main" val="43212225"/>
                    </a:ext>
                  </a:extLst>
                </a:gridCol>
                <a:gridCol w="1178027">
                  <a:extLst>
                    <a:ext uri="{9D8B030D-6E8A-4147-A177-3AD203B41FA5}">
                      <a16:colId xmlns:a16="http://schemas.microsoft.com/office/drawing/2014/main" val="4152056659"/>
                    </a:ext>
                  </a:extLst>
                </a:gridCol>
                <a:gridCol w="1324852">
                  <a:extLst>
                    <a:ext uri="{9D8B030D-6E8A-4147-A177-3AD203B41FA5}">
                      <a16:colId xmlns:a16="http://schemas.microsoft.com/office/drawing/2014/main" val="1322309038"/>
                    </a:ext>
                  </a:extLst>
                </a:gridCol>
              </a:tblGrid>
              <a:tr h="216323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4.5. 2021, 12:30 h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0030429"/>
                  </a:ext>
                </a:extLst>
              </a:tr>
              <a:tr h="200701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5455781"/>
                  </a:ext>
                </a:extLst>
              </a:tr>
              <a:tr h="21632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IP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0076397"/>
                  </a:ext>
                </a:extLst>
              </a:tr>
              <a:tr h="62579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/CPAP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/</a:t>
                      </a:r>
                      <a:r>
                        <a:rPr lang="cs-CZ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APpro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/NIV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/NIV pro Covid+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6334202"/>
                  </a:ext>
                </a:extLst>
              </a:tr>
              <a:tr h="2007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686" marR="6686" marT="668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5841158"/>
                  </a:ext>
                </a:extLst>
              </a:tr>
              <a:tr h="2007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6686" marR="6686" marT="668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5697758"/>
                  </a:ext>
                </a:extLst>
              </a:tr>
              <a:tr h="2007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686" marR="6686" marT="668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b">
                        <a:buFont typeface="Arial" panose="020B0604020202020204" pitchFamily="34" charset="0"/>
                        <a:buChar char="•"/>
                      </a:pP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0214832"/>
                  </a:ext>
                </a:extLst>
              </a:tr>
              <a:tr h="2007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686" marR="6686" marT="668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753507"/>
                  </a:ext>
                </a:extLst>
              </a:tr>
              <a:tr h="2007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6686" marR="6686" marT="668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6320922"/>
                  </a:ext>
                </a:extLst>
              </a:tr>
              <a:tr h="2007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86" marR="6686" marT="668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9153492"/>
                  </a:ext>
                </a:extLst>
              </a:tr>
              <a:tr h="2007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86" marR="6686" marT="668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5474590"/>
                  </a:ext>
                </a:extLst>
              </a:tr>
              <a:tr h="2007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686" marR="6686" marT="668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992625"/>
                  </a:ext>
                </a:extLst>
              </a:tr>
              <a:tr h="2007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6686" marR="6686" marT="668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4635226"/>
                  </a:ext>
                </a:extLst>
              </a:tr>
              <a:tr h="2007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686" marR="6686" marT="668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6790551"/>
                  </a:ext>
                </a:extLst>
              </a:tr>
              <a:tr h="2007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686" marR="6686" marT="668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4553634"/>
                  </a:ext>
                </a:extLst>
              </a:tr>
              <a:tr h="2007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86" marR="6686" marT="668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501637"/>
                  </a:ext>
                </a:extLst>
              </a:tr>
              <a:tr h="2007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5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686" marR="6686" marT="668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9596552"/>
                  </a:ext>
                </a:extLst>
              </a:tr>
              <a:tr h="20859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686" marR="6686" marT="6686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455360"/>
                  </a:ext>
                </a:extLst>
              </a:tr>
              <a:tr h="2240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96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0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6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1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9380435"/>
                  </a:ext>
                </a:extLst>
              </a:tr>
              <a:tr h="359922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7926558"/>
                  </a:ext>
                </a:extLst>
              </a:tr>
              <a:tr h="200701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3257266"/>
                  </a:ext>
                </a:extLst>
              </a:tr>
              <a:tr h="22227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olných kapacit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9324608"/>
                  </a:ext>
                </a:extLst>
              </a:tr>
              <a:tr h="200701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x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35294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7249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graphicFrame>
        <p:nvGraphicFramePr>
          <p:cNvPr id="7" name="Zástupný symbol pro obsah 6"/>
          <p:cNvGraphicFramePr>
            <a:graphicFrameLocks noGrp="1"/>
          </p:cNvGraphicFramePr>
          <p:nvPr>
            <p:ph idx="1"/>
            <p:extLst/>
          </p:nvPr>
        </p:nvGraphicFramePr>
        <p:xfrm>
          <a:off x="332819" y="1014143"/>
          <a:ext cx="8888359" cy="254240"/>
        </p:xfrm>
        <a:graphic>
          <a:graphicData uri="http://schemas.openxmlformats.org/drawingml/2006/table">
            <a:tbl>
              <a:tblPr/>
              <a:tblGrid>
                <a:gridCol w="4173915">
                  <a:extLst>
                    <a:ext uri="{9D8B030D-6E8A-4147-A177-3AD203B41FA5}">
                      <a16:colId xmlns:a16="http://schemas.microsoft.com/office/drawing/2014/main" val="747149834"/>
                    </a:ext>
                  </a:extLst>
                </a:gridCol>
                <a:gridCol w="1240979">
                  <a:extLst>
                    <a:ext uri="{9D8B030D-6E8A-4147-A177-3AD203B41FA5}">
                      <a16:colId xmlns:a16="http://schemas.microsoft.com/office/drawing/2014/main" val="2366994226"/>
                    </a:ext>
                  </a:extLst>
                </a:gridCol>
                <a:gridCol w="1237782">
                  <a:extLst>
                    <a:ext uri="{9D8B030D-6E8A-4147-A177-3AD203B41FA5}">
                      <a16:colId xmlns:a16="http://schemas.microsoft.com/office/drawing/2014/main" val="963647003"/>
                    </a:ext>
                  </a:extLst>
                </a:gridCol>
                <a:gridCol w="1007497">
                  <a:extLst>
                    <a:ext uri="{9D8B030D-6E8A-4147-A177-3AD203B41FA5}">
                      <a16:colId xmlns:a16="http://schemas.microsoft.com/office/drawing/2014/main" val="2206882935"/>
                    </a:ext>
                  </a:extLst>
                </a:gridCol>
                <a:gridCol w="1228186">
                  <a:extLst>
                    <a:ext uri="{9D8B030D-6E8A-4147-A177-3AD203B41FA5}">
                      <a16:colId xmlns:a16="http://schemas.microsoft.com/office/drawing/2014/main" val="3417075034"/>
                    </a:ext>
                  </a:extLst>
                </a:gridCol>
              </a:tblGrid>
              <a:tr h="254240">
                <a:tc>
                  <a:txBody>
                    <a:bodyPr/>
                    <a:lstStyle/>
                    <a:p>
                      <a:pPr algn="r" fontAlgn="b"/>
                      <a:endParaRPr lang="pl-PL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138154"/>
                  </a:ext>
                </a:extLst>
              </a:tr>
            </a:tbl>
          </a:graphicData>
        </a:graphic>
      </p:graphicFrame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1616986"/>
              </p:ext>
            </p:extLst>
          </p:nvPr>
        </p:nvGraphicFramePr>
        <p:xfrm>
          <a:off x="2380732" y="1017172"/>
          <a:ext cx="7837324" cy="5354806"/>
        </p:xfrm>
        <a:graphic>
          <a:graphicData uri="http://schemas.openxmlformats.org/drawingml/2006/table">
            <a:tbl>
              <a:tblPr/>
              <a:tblGrid>
                <a:gridCol w="1847935">
                  <a:extLst>
                    <a:ext uri="{9D8B030D-6E8A-4147-A177-3AD203B41FA5}">
                      <a16:colId xmlns:a16="http://schemas.microsoft.com/office/drawing/2014/main" val="213910761"/>
                    </a:ext>
                  </a:extLst>
                </a:gridCol>
                <a:gridCol w="1041515">
                  <a:extLst>
                    <a:ext uri="{9D8B030D-6E8A-4147-A177-3AD203B41FA5}">
                      <a16:colId xmlns:a16="http://schemas.microsoft.com/office/drawing/2014/main" val="2425701439"/>
                    </a:ext>
                  </a:extLst>
                </a:gridCol>
                <a:gridCol w="1033313">
                  <a:extLst>
                    <a:ext uri="{9D8B030D-6E8A-4147-A177-3AD203B41FA5}">
                      <a16:colId xmlns:a16="http://schemas.microsoft.com/office/drawing/2014/main" val="2840167758"/>
                    </a:ext>
                  </a:extLst>
                </a:gridCol>
                <a:gridCol w="975908">
                  <a:extLst>
                    <a:ext uri="{9D8B030D-6E8A-4147-A177-3AD203B41FA5}">
                      <a16:colId xmlns:a16="http://schemas.microsoft.com/office/drawing/2014/main" val="2555658990"/>
                    </a:ext>
                  </a:extLst>
                </a:gridCol>
                <a:gridCol w="893898">
                  <a:extLst>
                    <a:ext uri="{9D8B030D-6E8A-4147-A177-3AD203B41FA5}">
                      <a16:colId xmlns:a16="http://schemas.microsoft.com/office/drawing/2014/main" val="2103482004"/>
                    </a:ext>
                  </a:extLst>
                </a:gridCol>
                <a:gridCol w="951303">
                  <a:extLst>
                    <a:ext uri="{9D8B030D-6E8A-4147-A177-3AD203B41FA5}">
                      <a16:colId xmlns:a16="http://schemas.microsoft.com/office/drawing/2014/main" val="1622102373"/>
                    </a:ext>
                  </a:extLst>
                </a:gridCol>
                <a:gridCol w="1093452">
                  <a:extLst>
                    <a:ext uri="{9D8B030D-6E8A-4147-A177-3AD203B41FA5}">
                      <a16:colId xmlns:a16="http://schemas.microsoft.com/office/drawing/2014/main" val="39262599"/>
                    </a:ext>
                  </a:extLst>
                </a:gridCol>
              </a:tblGrid>
              <a:tr h="204231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4.5. 2021, 12:30 h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8001360"/>
                  </a:ext>
                </a:extLst>
              </a:tr>
              <a:tr h="193727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8574257"/>
                  </a:ext>
                </a:extLst>
              </a:tr>
              <a:tr h="20423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3799786"/>
                  </a:ext>
                </a:extLst>
              </a:tr>
              <a:tr h="59081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standardní s kyslíkem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8451399"/>
                  </a:ext>
                </a:extLst>
              </a:tr>
              <a:tr h="193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6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5349972"/>
                  </a:ext>
                </a:extLst>
              </a:tr>
              <a:tr h="193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1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2661175"/>
                  </a:ext>
                </a:extLst>
              </a:tr>
              <a:tr h="193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8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8000788"/>
                  </a:ext>
                </a:extLst>
              </a:tr>
              <a:tr h="193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1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4545819"/>
                  </a:ext>
                </a:extLst>
              </a:tr>
              <a:tr h="193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63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9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5139486"/>
                  </a:ext>
                </a:extLst>
              </a:tr>
              <a:tr h="193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6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0198029"/>
                  </a:ext>
                </a:extLst>
              </a:tr>
              <a:tr h="193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5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6571457"/>
                  </a:ext>
                </a:extLst>
              </a:tr>
              <a:tr h="193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4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2937512"/>
                  </a:ext>
                </a:extLst>
              </a:tr>
              <a:tr h="193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66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8265883"/>
                  </a:ext>
                </a:extLst>
              </a:tr>
              <a:tr h="193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8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9288157"/>
                  </a:ext>
                </a:extLst>
              </a:tr>
              <a:tr h="193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4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7764879"/>
                  </a:ext>
                </a:extLst>
              </a:tr>
              <a:tr h="193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607501"/>
                  </a:ext>
                </a:extLst>
              </a:tr>
              <a:tr h="193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16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189435"/>
                  </a:ext>
                </a:extLst>
              </a:tr>
              <a:tr h="1969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9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159281"/>
                  </a:ext>
                </a:extLst>
              </a:tr>
              <a:tr h="2115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575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52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5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5125817"/>
                  </a:ext>
                </a:extLst>
              </a:tr>
              <a:tr h="247995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055213"/>
                  </a:ext>
                </a:extLst>
              </a:tr>
              <a:tr h="193727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7963288"/>
                  </a:ext>
                </a:extLst>
              </a:tr>
              <a:tr h="38113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olných kapacit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4116585"/>
                  </a:ext>
                </a:extLst>
              </a:tr>
              <a:tr h="193727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x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4368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5273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55373" y="263471"/>
            <a:ext cx="11673016" cy="1427217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algn="r"/>
            <a:r>
              <a:rPr lang="cs-CZ" sz="1800" b="1" dirty="0" smtClean="0"/>
              <a:t/>
            </a:r>
            <a:br>
              <a:rPr lang="cs-CZ" sz="1800" b="1" dirty="0" smtClean="0"/>
            </a:br>
            <a:r>
              <a:rPr lang="cs-CZ" sz="1800" b="1" dirty="0"/>
              <a:t>Zařízení – 32 </a:t>
            </a:r>
            <a:br>
              <a:rPr lang="cs-CZ" sz="1800" b="1" dirty="0"/>
            </a:br>
            <a:r>
              <a:rPr lang="cs-CZ" sz="1800" b="1" dirty="0"/>
              <a:t>Klienti – 16</a:t>
            </a:r>
            <a:br>
              <a:rPr lang="cs-CZ" sz="1800" b="1" dirty="0"/>
            </a:br>
            <a:r>
              <a:rPr lang="cs-CZ" sz="1800" b="1" dirty="0"/>
              <a:t>Pracovníci – 19</a:t>
            </a:r>
            <a:br>
              <a:rPr lang="cs-CZ" sz="1800" b="1" dirty="0"/>
            </a:br>
            <a:r>
              <a:rPr lang="cs-CZ" sz="1800" b="1" dirty="0"/>
              <a:t>Úmrtí – 233</a:t>
            </a:r>
            <a:br>
              <a:rPr lang="cs-CZ" sz="1800" b="1" dirty="0"/>
            </a:br>
            <a:endParaRPr lang="cs-CZ" sz="1800" dirty="0"/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008" y="343413"/>
            <a:ext cx="8785097" cy="536494"/>
          </a:xfrm>
          <a:prstGeom prst="rect">
            <a:avLst/>
          </a:prstGeom>
        </p:spPr>
      </p:pic>
      <p:pic>
        <p:nvPicPr>
          <p:cNvPr id="5" name="Zástupný symbol pro obsah 4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842704" y="1825625"/>
            <a:ext cx="10506592" cy="43513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36964277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9336" y="1279131"/>
            <a:ext cx="11953328" cy="288032"/>
          </a:xfrm>
        </p:spPr>
        <p:txBody>
          <a:bodyPr/>
          <a:lstStyle/>
          <a:p>
            <a:r>
              <a:rPr lang="cs-CZ" dirty="0" smtClean="0"/>
              <a:t>Úvod: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7328" y="1700808"/>
            <a:ext cx="12097344" cy="4608512"/>
          </a:xfrm>
          <a:solidFill>
            <a:srgbClr val="F3FBA3"/>
          </a:solidFill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cs-CZ" sz="1800" b="1" dirty="0" smtClean="0"/>
              <a:t>Hejtman ZK </a:t>
            </a:r>
          </a:p>
          <a:p>
            <a:pPr marL="0" indent="0" algn="r"/>
            <a:r>
              <a:rPr lang="cs-CZ" sz="1200" dirty="0" smtClean="0"/>
              <a:t>Motto Zlínského kraje: </a:t>
            </a:r>
            <a:r>
              <a:rPr lang="cs-CZ" sz="1200" b="1" i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„</a:t>
            </a:r>
            <a:r>
              <a:rPr lang="cs-CZ" sz="1200" i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DOSTANEME OČKOVÁNÍ K </a:t>
            </a:r>
            <a:r>
              <a:rPr lang="cs-CZ" sz="1200" i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LIDEM“</a:t>
            </a:r>
            <a:endParaRPr lang="cs-CZ" sz="1200" b="1" i="1" dirty="0" smtClean="0">
              <a:solidFill>
                <a:schemeClr val="accent2">
                  <a:lumMod val="60000"/>
                  <a:lumOff val="40000"/>
                </a:schemeClr>
              </a:solidFill>
            </a:endParaRPr>
          </a:p>
          <a:p>
            <a:pPr marL="0" indent="0"/>
            <a:r>
              <a:rPr lang="cs-CZ" sz="1800" b="1" dirty="0" smtClean="0"/>
              <a:t>Z činnosti SPS KŠ ZK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FF0000"/>
                </a:solidFill>
              </a:rPr>
              <a:t>SPS KŠ pracuje v souladu s §8 Pandemického zákon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 smtClean="0"/>
              <a:t>Videokonferenční jednání hejtmanů s ministrem zdravotnictví k EPI situaci, k strategii očkování, testování dětí v školác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 smtClean="0"/>
              <a:t>Do registračního systému CRS – čísla </a:t>
            </a:r>
            <a:r>
              <a:rPr lang="cs-CZ" dirty="0" smtClean="0"/>
              <a:t>pojištěnců KI, </a:t>
            </a:r>
            <a:r>
              <a:rPr lang="cs-CZ" dirty="0" smtClean="0"/>
              <a:t>SDHO a obecních strážníků</a:t>
            </a:r>
            <a:endParaRPr lang="cs-CZ" dirty="0"/>
          </a:p>
          <a:p>
            <a:pPr>
              <a:buFont typeface="Arial" panose="020B0604020202020204" pitchFamily="34" charset="0"/>
              <a:buChar char="•"/>
            </a:pPr>
            <a:r>
              <a:rPr lang="cs-CZ" dirty="0" smtClean="0"/>
              <a:t>Otevření registrace 50</a:t>
            </a:r>
            <a:r>
              <a:rPr lang="cs-CZ" dirty="0" smtClean="0"/>
              <a:t>+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 smtClean="0"/>
              <a:t>Řešení strategie očkování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 smtClean="0"/>
              <a:t>Žádosti o výpomoc AČ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b="1" dirty="0" smtClean="0"/>
              <a:t>Rozvolňování </a:t>
            </a:r>
            <a:r>
              <a:rPr lang="cs-CZ" b="1" dirty="0" smtClean="0"/>
              <a:t>od 10. května </a:t>
            </a:r>
            <a:r>
              <a:rPr lang="cs-CZ" b="1" dirty="0" smtClean="0"/>
              <a:t>– na základě rozhodnutí vlády – zasedání vlády 6. května 202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 smtClean="0"/>
              <a:t>Zpracování zvukové </a:t>
            </a:r>
            <a:r>
              <a:rPr lang="cs-CZ" dirty="0"/>
              <a:t>nahrávky </a:t>
            </a:r>
            <a:r>
              <a:rPr lang="cs-CZ" dirty="0" smtClean="0"/>
              <a:t>k medializaci očkování – </a:t>
            </a:r>
            <a:r>
              <a:rPr lang="cs-CZ" b="1" dirty="0"/>
              <a:t>Výzva k očkování</a:t>
            </a:r>
          </a:p>
          <a:p>
            <a:pPr>
              <a:buFont typeface="Arial" panose="020B0604020202020204" pitchFamily="34" charset="0"/>
              <a:buChar char="•"/>
            </a:pPr>
            <a:endParaRPr lang="cs-CZ" b="1" dirty="0" smtClean="0"/>
          </a:p>
        </p:txBody>
      </p:sp>
    </p:spTree>
    <p:extLst>
      <p:ext uri="{BB962C8B-B14F-4D97-AF65-F5344CB8AC3E}">
        <p14:creationId xmlns:p14="http://schemas.microsoft.com/office/powerpoint/2010/main" val="1562307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0792" y="930876"/>
            <a:ext cx="10510415" cy="5156885"/>
          </a:xfrm>
          <a:prstGeom prst="rect">
            <a:avLst/>
          </a:prstGeom>
          <a:solidFill>
            <a:srgbClr val="FFFFCC"/>
          </a:solidFill>
        </p:spPr>
      </p:pic>
    </p:spTree>
    <p:extLst>
      <p:ext uri="{BB962C8B-B14F-4D97-AF65-F5344CB8AC3E}">
        <p14:creationId xmlns:p14="http://schemas.microsoft.com/office/powerpoint/2010/main" val="34917419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/>
          <p:cNvSpPr txBox="1"/>
          <p:nvPr/>
        </p:nvSpPr>
        <p:spPr>
          <a:xfrm>
            <a:off x="119337" y="1299647"/>
            <a:ext cx="5045787" cy="369332"/>
          </a:xfrm>
          <a:prstGeom prst="rect">
            <a:avLst/>
          </a:prstGeom>
          <a:solidFill>
            <a:srgbClr val="305983">
              <a:lumMod val="40000"/>
              <a:lumOff val="6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estování ve školách Zlínského kraje</a:t>
            </a:r>
          </a:p>
        </p:txBody>
      </p:sp>
      <p:sp>
        <p:nvSpPr>
          <p:cNvPr id="6" name="TextovéPole 5"/>
          <p:cNvSpPr txBox="1"/>
          <p:nvPr/>
        </p:nvSpPr>
        <p:spPr>
          <a:xfrm>
            <a:off x="4655840" y="620688"/>
            <a:ext cx="7416822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Školství Z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119336" y="1837038"/>
            <a:ext cx="4057247" cy="2092881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cs-CZ" b="1" u="sng" dirty="0" smtClean="0">
                <a:solidFill>
                  <a:schemeClr val="accent2"/>
                </a:solidFill>
              </a:rPr>
              <a:t>Postup při nedostatku AG testů: </a:t>
            </a:r>
            <a:r>
              <a:rPr lang="cs-CZ" sz="1200" b="1" u="sng" dirty="0" smtClean="0">
                <a:solidFill>
                  <a:srgbClr val="FF0000"/>
                </a:solidFill>
              </a:rPr>
              <a:t>(potřeba do 16.5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 smtClean="0"/>
              <a:t>Žádost mají školy posílat na e-</a:t>
            </a:r>
            <a:r>
              <a:rPr lang="cs-CZ" sz="1400" dirty="0" err="1" smtClean="0"/>
              <a:t>mal</a:t>
            </a:r>
            <a:r>
              <a:rPr lang="cs-CZ" sz="1400" dirty="0" smtClean="0"/>
              <a:t>:</a:t>
            </a:r>
          </a:p>
          <a:p>
            <a:r>
              <a:rPr lang="cs-CZ" b="1" dirty="0" smtClean="0">
                <a:hlinkClick r:id="rId2"/>
              </a:rPr>
              <a:t>zlin@npi.cz</a:t>
            </a:r>
            <a:r>
              <a:rPr lang="cs-CZ" dirty="0" smtClean="0"/>
              <a:t>  </a:t>
            </a:r>
            <a:r>
              <a:rPr lang="cs-CZ" sz="1200" dirty="0" smtClean="0"/>
              <a:t>(pracoviště NPI Zlín, Potoky 267, tel: 577 437 711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1" dirty="0" smtClean="0">
                <a:solidFill>
                  <a:srgbClr val="FF0000"/>
                </a:solidFill>
              </a:rPr>
              <a:t>Testy mohou vyzvednou školy individuálně, nebo po domluvě s odborem školství ORP, vyzvednou testy ORP a doručí na cílová školská zařízení </a:t>
            </a:r>
            <a:endParaRPr lang="cs-CZ" sz="1400" b="1" dirty="0">
              <a:solidFill>
                <a:srgbClr val="FF0000"/>
              </a:solidFill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115330" y="4481383"/>
            <a:ext cx="4061253" cy="52322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cs-CZ" sz="1400" b="1" dirty="0" smtClean="0"/>
              <a:t>po 16. 5</a:t>
            </a:r>
            <a:r>
              <a:rPr lang="cs-CZ" sz="1400" dirty="0" smtClean="0"/>
              <a:t>., po úspěšné veřejné zakázce, dodávky od státu budou obnoveny.</a:t>
            </a:r>
            <a:endParaRPr lang="cs-CZ" sz="1400" dirty="0"/>
          </a:p>
        </p:txBody>
      </p:sp>
      <p:pic>
        <p:nvPicPr>
          <p:cNvPr id="8" name="Zástupný symbol pro obsah 7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271043" y="1299647"/>
            <a:ext cx="4236586" cy="5487987"/>
          </a:xfrm>
          <a:prstGeom prst="rect">
            <a:avLst/>
          </a:prstGeom>
        </p:spPr>
      </p:pic>
      <p:pic>
        <p:nvPicPr>
          <p:cNvPr id="9" name="Obráze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07629" y="1299647"/>
            <a:ext cx="3565033" cy="2259099"/>
          </a:xfrm>
          <a:prstGeom prst="rect">
            <a:avLst/>
          </a:prstGeom>
        </p:spPr>
      </p:pic>
      <p:sp>
        <p:nvSpPr>
          <p:cNvPr id="11" name="TextovéPole 10"/>
          <p:cNvSpPr txBox="1"/>
          <p:nvPr/>
        </p:nvSpPr>
        <p:spPr>
          <a:xfrm>
            <a:off x="8625016" y="3558746"/>
            <a:ext cx="3447646" cy="3323987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pPr algn="just">
              <a:spcAft>
                <a:spcPts val="0"/>
              </a:spcAft>
            </a:pPr>
            <a:r>
              <a:rPr lang="cs-CZ" sz="1400" dirty="0" smtClean="0">
                <a:latin typeface="Calibri" panose="020F0502020204030204" pitchFamily="34" charset="0"/>
                <a:ea typeface="Calibri" panose="020F0502020204030204" pitchFamily="34" charset="0"/>
              </a:rPr>
              <a:t>Vzhledem </a:t>
            </a: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k tomu, že v přechodném období do 16. května nebudou antigenní testy do škol dodávány z centrálního nákupu, byly všechny školy a školská zařízení informování dopisem MŠMT ČR ze dne 30.</a:t>
            </a:r>
            <a:r>
              <a:rPr lang="cs-CZ" sz="14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4.</a:t>
            </a:r>
            <a:r>
              <a:rPr lang="cs-CZ" sz="14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2021 o tom, že v případě nedostatku testů se mají obracet na pracoviště NPI Zlín, Potoky 267</a:t>
            </a:r>
            <a:r>
              <a:rPr lang="cs-CZ" sz="14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(tel.</a:t>
            </a:r>
            <a:r>
              <a:rPr lang="cs-CZ" sz="14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577 437 711). Žádosti mají školy  posílat na e-mail</a:t>
            </a:r>
            <a:r>
              <a:rPr lang="cs-CZ" sz="14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:</a:t>
            </a: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cs-CZ" sz="14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zlin@npi.cz</a:t>
            </a: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. Můžete školám pomoci tak, že místo</a:t>
            </a:r>
            <a:r>
              <a:rPr lang="cs-CZ" sz="14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,</a:t>
            </a: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 aby jezdila pro testy každá škola, můžete vyzvednout testy pro všechny žadatele v rámci ORP. Na NPI Zlín je to domluveno, rovněž i to, že převzetí může podepsat ten, kdo pro testy za ORP přijede.  </a:t>
            </a:r>
          </a:p>
          <a:p>
            <a:pPr algn="just">
              <a:spcAft>
                <a:spcPts val="0"/>
              </a:spcAft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cs-CZ" sz="1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104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A8187E97-9853-44C4-89D4-673FC2918DA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559424" y="1339334"/>
          <a:ext cx="5041902" cy="5032890"/>
        </p:xfrm>
        <a:graphic>
          <a:graphicData uri="http://schemas.openxmlformats.org/drawingml/2006/table">
            <a:tbl>
              <a:tblPr/>
              <a:tblGrid>
                <a:gridCol w="2520951">
                  <a:extLst>
                    <a:ext uri="{9D8B030D-6E8A-4147-A177-3AD203B41FA5}">
                      <a16:colId xmlns:a16="http://schemas.microsoft.com/office/drawing/2014/main" val="1868421091"/>
                    </a:ext>
                  </a:extLst>
                </a:gridCol>
                <a:gridCol w="2520951">
                  <a:extLst>
                    <a:ext uri="{9D8B030D-6E8A-4147-A177-3AD203B41FA5}">
                      <a16:colId xmlns:a16="http://schemas.microsoft.com/office/drawing/2014/main" val="1701160300"/>
                    </a:ext>
                  </a:extLst>
                </a:gridCol>
              </a:tblGrid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170421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7618824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567827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6249081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5159698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9847492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3518457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194628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8677120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5073748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2416791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A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2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856788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0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E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800608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B6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0635529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2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0689271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E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F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7305310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9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E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1994250"/>
                  </a:ext>
                </a:extLst>
              </a:tr>
              <a:tr h="27960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8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9151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dle věku: Zlínský kraj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742632" y="9330"/>
            <a:ext cx="13587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 5. 2021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0309B56C-9442-443F-8572-AB0E7629608E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C43BA4A-4D39-4C65-9B16-FC0E5A08595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666875" y="798741"/>
          <a:ext cx="8934451" cy="5573485"/>
        </p:xfrm>
        <a:graphic>
          <a:graphicData uri="http://schemas.openxmlformats.org/drawingml/2006/table">
            <a:tbl>
              <a:tblPr/>
              <a:tblGrid>
                <a:gridCol w="1525456">
                  <a:extLst>
                    <a:ext uri="{9D8B030D-6E8A-4147-A177-3AD203B41FA5}">
                      <a16:colId xmlns:a16="http://schemas.microsoft.com/office/drawing/2014/main" val="2659217880"/>
                    </a:ext>
                  </a:extLst>
                </a:gridCol>
                <a:gridCol w="2346001">
                  <a:extLst>
                    <a:ext uri="{9D8B030D-6E8A-4147-A177-3AD203B41FA5}">
                      <a16:colId xmlns:a16="http://schemas.microsoft.com/office/drawing/2014/main" val="3700633278"/>
                    </a:ext>
                  </a:extLst>
                </a:gridCol>
                <a:gridCol w="2531497">
                  <a:extLst>
                    <a:ext uri="{9D8B030D-6E8A-4147-A177-3AD203B41FA5}">
                      <a16:colId xmlns:a16="http://schemas.microsoft.com/office/drawing/2014/main" val="1208404094"/>
                    </a:ext>
                  </a:extLst>
                </a:gridCol>
                <a:gridCol w="2531497">
                  <a:extLst>
                    <a:ext uri="{9D8B030D-6E8A-4147-A177-3AD203B41FA5}">
                      <a16:colId xmlns:a16="http://schemas.microsoft.com/office/drawing/2014/main" val="3572332603"/>
                    </a:ext>
                  </a:extLst>
                </a:gridCol>
              </a:tblGrid>
              <a:tr h="5479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ě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čet osob </a:t>
                      </a:r>
                    </a:p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 populaci k 1.1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é osoby celkem</a:t>
                      </a:r>
                    </a:p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čet (podíl z populace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e dvěma dávkami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čet (podíl z populace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8087383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-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0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(1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0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0794676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3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9 (4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7 (3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3681229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6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5 (6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53 (3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7216743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9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82 (5,9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8 (3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4086051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-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2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64 (8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27 (4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26191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-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67 (9,9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9 (5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9642732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-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2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20 (11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42 (5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60367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-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11 (12,9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01 (7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5084635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-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7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92 (16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61 (10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348320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-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8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743 (23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08 (9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3150079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-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0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765 (46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96 (7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0196500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-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6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785 (64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546 (31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5002971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-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3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232 (69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29 (37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3526895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-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0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992 (73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84 (42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0600272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-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7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91 (68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49 (42,9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3678603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-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2 (63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7 (41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831129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5+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 (49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 (32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132988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 7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953 (23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930 (11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90756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354425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EC0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aoblený obdélník 3"/>
          <p:cNvSpPr/>
          <p:nvPr/>
        </p:nvSpPr>
        <p:spPr>
          <a:xfrm>
            <a:off x="125127" y="0"/>
            <a:ext cx="11925701" cy="1212783"/>
          </a:xfrm>
          <a:prstGeom prst="roundRect">
            <a:avLst/>
          </a:prstGeom>
          <a:solidFill>
            <a:srgbClr val="00538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15976" y="817352"/>
            <a:ext cx="9144000" cy="734704"/>
          </a:xfrm>
        </p:spPr>
        <p:txBody>
          <a:bodyPr>
            <a:normAutofit fontScale="90000"/>
          </a:bodyPr>
          <a:lstStyle/>
          <a:p>
            <a:pPr>
              <a:lnSpc>
                <a:spcPct val="150000"/>
              </a:lnSpc>
            </a:pPr>
            <a:r>
              <a:rPr lang="cs-CZ" sz="4400" b="1" dirty="0" smtClean="0">
                <a:solidFill>
                  <a:schemeClr val="bg1"/>
                </a:solidFill>
                <a:latin typeface="Teuton Normal" panose="02000506080000020004" pitchFamily="2" charset="0"/>
              </a:rPr>
              <a:t>Očkování ve Zlínském kraji</a:t>
            </a:r>
            <a:r>
              <a:rPr lang="cs-CZ" sz="4800" dirty="0" smtClean="0">
                <a:solidFill>
                  <a:schemeClr val="bg1"/>
                </a:solidFill>
                <a:latin typeface="Teuton Normal" panose="02000506080000020004" pitchFamily="2" charset="0"/>
              </a:rPr>
              <a:t/>
            </a:r>
            <a:br>
              <a:rPr lang="cs-CZ" sz="4800" dirty="0" smtClean="0">
                <a:solidFill>
                  <a:schemeClr val="bg1"/>
                </a:solidFill>
                <a:latin typeface="Teuton Normal" panose="02000506080000020004" pitchFamily="2" charset="0"/>
              </a:rPr>
            </a:br>
            <a:endParaRPr lang="cs-CZ" sz="4400" b="1" baseline="30000" dirty="0">
              <a:solidFill>
                <a:schemeClr val="bg1"/>
              </a:solidFill>
              <a:latin typeface="Teuton Normal" panose="02000506080000020004" pitchFamily="2" charset="0"/>
            </a:endParaRPr>
          </a:p>
        </p:txBody>
      </p:sp>
      <p:sp>
        <p:nvSpPr>
          <p:cNvPr id="11" name="TextovéPole 10"/>
          <p:cNvSpPr txBox="1"/>
          <p:nvPr/>
        </p:nvSpPr>
        <p:spPr>
          <a:xfrm>
            <a:off x="125125" y="1339857"/>
            <a:ext cx="6486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ý počet podaných dávek vakcíny k 4. 5. 2021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ovéPole 11"/>
          <p:cNvSpPr txBox="1"/>
          <p:nvPr/>
        </p:nvSpPr>
        <p:spPr>
          <a:xfrm>
            <a:off x="125126" y="3125841"/>
            <a:ext cx="93603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unikátních osob s ukončeným očkováním dvěma dávkami vakcíny podaných dávek vakcíny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9847" y="4018023"/>
            <a:ext cx="4736258" cy="2686533"/>
          </a:xfrm>
          <a:prstGeom prst="rect">
            <a:avLst/>
          </a:prstGeom>
        </p:spPr>
      </p:pic>
      <p:graphicFrame>
        <p:nvGraphicFramePr>
          <p:cNvPr id="14" name="Objekt 13"/>
          <p:cNvGraphicFramePr>
            <a:graphicFrameLocks noChangeAspect="1"/>
          </p:cNvGraphicFramePr>
          <p:nvPr>
            <p:extLst/>
          </p:nvPr>
        </p:nvGraphicFramePr>
        <p:xfrm>
          <a:off x="125125" y="2522565"/>
          <a:ext cx="11925702" cy="2781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List" r:id="rId4" imgW="12630172" imgH="200179" progId="Excel.Sheet.12">
                  <p:embed/>
                </p:oleObj>
              </mc:Choice>
              <mc:Fallback>
                <p:oleObj name="List" r:id="rId4" imgW="12630172" imgH="200179" progId="Excel.Sheet.12">
                  <p:embed/>
                  <p:pic>
                    <p:nvPicPr>
                      <p:cNvPr id="14" name="Objekt 1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125" y="2522565"/>
                        <a:ext cx="11925702" cy="2781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15"/>
          <p:cNvGraphicFramePr>
            <a:graphicFrameLocks noChangeAspect="1"/>
          </p:cNvGraphicFramePr>
          <p:nvPr>
            <p:extLst/>
          </p:nvPr>
        </p:nvGraphicFramePr>
        <p:xfrm>
          <a:off x="125125" y="3511828"/>
          <a:ext cx="11925702" cy="224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List" r:id="rId6" imgW="12630172" imgH="200179" progId="Excel.Sheet.12">
                  <p:embed/>
                </p:oleObj>
              </mc:Choice>
              <mc:Fallback>
                <p:oleObj name="List" r:id="rId6" imgW="12630172" imgH="200179" progId="Excel.Sheet.12">
                  <p:embed/>
                  <p:pic>
                    <p:nvPicPr>
                      <p:cNvPr id="16" name="Objekt 15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5125" y="3511828"/>
                        <a:ext cx="11925702" cy="224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Objekt 19"/>
          <p:cNvGraphicFramePr>
            <a:graphicFrameLocks noChangeAspect="1"/>
          </p:cNvGraphicFramePr>
          <p:nvPr>
            <p:extLst/>
          </p:nvPr>
        </p:nvGraphicFramePr>
        <p:xfrm>
          <a:off x="125125" y="1725844"/>
          <a:ext cx="11925702" cy="7967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List" r:id="rId8" imgW="12630172" imgH="961974" progId="Excel.Sheet.12">
                  <p:embed/>
                </p:oleObj>
              </mc:Choice>
              <mc:Fallback>
                <p:oleObj name="List" r:id="rId8" imgW="12630172" imgH="961974" progId="Excel.Sheet.12">
                  <p:embed/>
                  <p:pic>
                    <p:nvPicPr>
                      <p:cNvPr id="20" name="Objekt 19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25125" y="1725844"/>
                        <a:ext cx="11925702" cy="7967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30309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EC0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aoblený obdélník 3"/>
          <p:cNvSpPr/>
          <p:nvPr/>
        </p:nvSpPr>
        <p:spPr>
          <a:xfrm>
            <a:off x="125127" y="0"/>
            <a:ext cx="11925701" cy="1212783"/>
          </a:xfrm>
          <a:prstGeom prst="roundRect">
            <a:avLst/>
          </a:prstGeom>
          <a:solidFill>
            <a:srgbClr val="00538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15978" y="563087"/>
            <a:ext cx="9144000" cy="734704"/>
          </a:xfrm>
        </p:spPr>
        <p:txBody>
          <a:bodyPr>
            <a:normAutofit fontScale="90000"/>
          </a:bodyPr>
          <a:lstStyle/>
          <a:p>
            <a:pPr>
              <a:lnSpc>
                <a:spcPct val="150000"/>
              </a:lnSpc>
            </a:pPr>
            <a:r>
              <a:rPr lang="cs-CZ" sz="4400" b="1" dirty="0" smtClean="0">
                <a:solidFill>
                  <a:schemeClr val="bg1"/>
                </a:solidFill>
                <a:latin typeface="Teuton Normal" panose="02000506080000020004" pitchFamily="2" charset="0"/>
              </a:rPr>
              <a:t>Očkovací strategie Zlínského kraje</a:t>
            </a:r>
            <a:r>
              <a:rPr lang="cs-CZ" sz="4800" dirty="0" smtClean="0">
                <a:solidFill>
                  <a:schemeClr val="bg1"/>
                </a:solidFill>
                <a:latin typeface="Teuton Normal" panose="02000506080000020004" pitchFamily="2" charset="0"/>
              </a:rPr>
              <a:t/>
            </a:r>
            <a:br>
              <a:rPr lang="cs-CZ" sz="4800" dirty="0" smtClean="0">
                <a:solidFill>
                  <a:schemeClr val="bg1"/>
                </a:solidFill>
                <a:latin typeface="Teuton Normal" panose="02000506080000020004" pitchFamily="2" charset="0"/>
              </a:rPr>
            </a:br>
            <a:r>
              <a:rPr lang="cs-CZ" sz="4400" b="1" baseline="30000" dirty="0">
                <a:solidFill>
                  <a:schemeClr val="bg1"/>
                </a:solidFill>
                <a:latin typeface="Teuton Normal" panose="02000506080000020004" pitchFamily="2" charset="0"/>
              </a:rPr>
              <a:t>P</a:t>
            </a:r>
            <a:r>
              <a:rPr lang="cs-CZ" sz="4400" b="1" baseline="30000" dirty="0" smtClean="0">
                <a:solidFill>
                  <a:schemeClr val="bg1"/>
                </a:solidFill>
                <a:latin typeface="Teuton Normal" panose="02000506080000020004" pitchFamily="2" charset="0"/>
              </a:rPr>
              <a:t>očty osob před závorou </a:t>
            </a:r>
            <a:endParaRPr lang="cs-CZ" sz="4400" b="1" baseline="30000" dirty="0">
              <a:solidFill>
                <a:schemeClr val="bg1"/>
              </a:solidFill>
              <a:latin typeface="Teuton Normal" panose="02000506080000020004" pitchFamily="2" charset="0"/>
            </a:endParaRPr>
          </a:p>
        </p:txBody>
      </p:sp>
      <p:sp>
        <p:nvSpPr>
          <p:cNvPr id="14" name="TextovéPole 13"/>
          <p:cNvSpPr txBox="1"/>
          <p:nvPr/>
        </p:nvSpPr>
        <p:spPr>
          <a:xfrm>
            <a:off x="311064" y="5951480"/>
            <a:ext cx="11553825" cy="73866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Otevírání dalších věkových skupin -5 let každý týd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V tabulce mohou být lidé,  kteří prodělali COVID a čekají na ukončení 90 denní lhůty, rozmysleli si postoj k očkování, nebo byli naočkováni jinde (prodleva zápisu do ISIN).</a:t>
            </a:r>
          </a:p>
        </p:txBody>
      </p:sp>
      <p:graphicFrame>
        <p:nvGraphicFramePr>
          <p:cNvPr id="6" name="Objekt 5"/>
          <p:cNvGraphicFramePr>
            <a:graphicFrameLocks noChangeAspect="1"/>
          </p:cNvGraphicFramePr>
          <p:nvPr>
            <p:extLst/>
          </p:nvPr>
        </p:nvGraphicFramePr>
        <p:xfrm>
          <a:off x="124863" y="1433146"/>
          <a:ext cx="11925965" cy="39830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List" r:id="rId3" imgW="12744342" imgH="4257636" progId="Excel.Sheet.12">
                  <p:embed/>
                </p:oleObj>
              </mc:Choice>
              <mc:Fallback>
                <p:oleObj name="List" r:id="rId3" imgW="12744342" imgH="4257636" progId="Excel.Sheet.12">
                  <p:embed/>
                  <p:pic>
                    <p:nvPicPr>
                      <p:cNvPr id="6" name="Objek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4863" y="1433146"/>
                        <a:ext cx="11925965" cy="39830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74169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EC0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Skupina 1"/>
          <p:cNvGrpSpPr/>
          <p:nvPr/>
        </p:nvGrpSpPr>
        <p:grpSpPr>
          <a:xfrm>
            <a:off x="123316" y="67376"/>
            <a:ext cx="11925701" cy="1256135"/>
            <a:chOff x="123316" y="67376"/>
            <a:chExt cx="11925701" cy="1256135"/>
          </a:xfrm>
        </p:grpSpPr>
        <p:sp>
          <p:nvSpPr>
            <p:cNvPr id="4" name="Zaoblený obdélník 3"/>
            <p:cNvSpPr/>
            <p:nvPr/>
          </p:nvSpPr>
          <p:spPr>
            <a:xfrm>
              <a:off x="123316" y="67376"/>
              <a:ext cx="11925701" cy="1212783"/>
            </a:xfrm>
            <a:prstGeom prst="roundRect">
              <a:avLst/>
            </a:prstGeom>
            <a:solidFill>
              <a:srgbClr val="00538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Nadpis 1">
              <a:extLst>
                <a:ext uri="{FF2B5EF4-FFF2-40B4-BE49-F238E27FC236}">
                  <a16:creationId xmlns:a16="http://schemas.microsoft.com/office/drawing/2014/main" id="{50444CAE-0E11-4B1D-AD1D-5792ADA594DB}"/>
                </a:ext>
              </a:extLst>
            </p:cNvPr>
            <p:cNvSpPr txBox="1">
              <a:spLocks/>
            </p:cNvSpPr>
            <p:nvPr/>
          </p:nvSpPr>
          <p:spPr>
            <a:xfrm>
              <a:off x="1461636" y="495636"/>
              <a:ext cx="10039295" cy="827875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4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uton Normal" panose="02000506080000020004" pitchFamily="2" charset="0"/>
                  <a:ea typeface="+mj-ea"/>
                  <a:cs typeface="+mj-cs"/>
                </a:rPr>
                <a:t>Rozdělení </a:t>
              </a:r>
              <a:r>
                <a:rPr kumimoji="0" lang="cs-CZ" sz="4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uton Normal" panose="02000506080000020004" pitchFamily="2" charset="0"/>
                  <a:ea typeface="+mj-ea"/>
                  <a:cs typeface="+mj-cs"/>
                </a:rPr>
                <a:t>vakcín </a:t>
              </a:r>
              <a:r>
                <a:rPr kumimoji="0" lang="cs-CZ" sz="4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uton Normal" panose="02000506080000020004" pitchFamily="2" charset="0"/>
                  <a:ea typeface="+mj-ea"/>
                  <a:cs typeface="+mj-cs"/>
                </a:rPr>
                <a:t>pro OČM - COMIRNATY</a:t>
              </a:r>
              <a:endParaRPr kumimoji="0" lang="cs-CZ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uton Normal" panose="02000506080000020004" pitchFamily="2" charset="0"/>
                <a:ea typeface="+mj-ea"/>
                <a:cs typeface="+mj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uton Normal" panose="02000506080000020004" pitchFamily="2" charset="0"/>
                <a:ea typeface="+mj-ea"/>
                <a:cs typeface="+mj-cs"/>
              </a:endParaRPr>
            </a:p>
          </p:txBody>
        </p:sp>
        <p:pic>
          <p:nvPicPr>
            <p:cNvPr id="9" name="Obrázek 8">
              <a:extLst>
                <a:ext uri="{FF2B5EF4-FFF2-40B4-BE49-F238E27FC236}">
                  <a16:creationId xmlns:a16="http://schemas.microsoft.com/office/drawing/2014/main" id="{24572D85-A9D1-4A60-9210-67A538D236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862" y="452284"/>
              <a:ext cx="1524204" cy="368332"/>
            </a:xfrm>
            <a:prstGeom prst="rect">
              <a:avLst/>
            </a:prstGeom>
          </p:spPr>
        </p:pic>
      </p:grpSp>
      <p:sp>
        <p:nvSpPr>
          <p:cNvPr id="10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 txBox="1">
            <a:spLocks/>
          </p:cNvSpPr>
          <p:nvPr/>
        </p:nvSpPr>
        <p:spPr>
          <a:xfrm>
            <a:off x="381740" y="2"/>
            <a:ext cx="6933460" cy="57600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6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graphicFrame>
        <p:nvGraphicFramePr>
          <p:cNvPr id="5" name="Objekt 4"/>
          <p:cNvGraphicFramePr>
            <a:graphicFrameLocks noChangeAspect="1"/>
          </p:cNvGraphicFramePr>
          <p:nvPr>
            <p:extLst/>
          </p:nvPr>
        </p:nvGraphicFramePr>
        <p:xfrm>
          <a:off x="123315" y="5298208"/>
          <a:ext cx="2704929" cy="1466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List" r:id="rId4" imgW="2267087" imgH="1228879" progId="Excel.Sheet.12">
                  <p:embed/>
                </p:oleObj>
              </mc:Choice>
              <mc:Fallback>
                <p:oleObj name="List" r:id="rId4" imgW="2267087" imgH="1228879" progId="Excel.Sheet.12">
                  <p:embed/>
                  <p:pic>
                    <p:nvPicPr>
                      <p:cNvPr id="5" name="Objekt 4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15" y="5298208"/>
                        <a:ext cx="2704929" cy="1466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2972273" y="5298208"/>
            <a:ext cx="9076744" cy="144655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e očkování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Očkování pouze prioritních skupi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.5.2021  od 00:00 spuštění skupiny </a:t>
            </a: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„pracovníci vysokých škol“, „osoby pečující“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5.5.2021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00:00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uštění skupiny 50</a:t>
            </a: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Otevření závor pro všechny skupiny současně a seřazení všech zájemců podle věku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!</a:t>
            </a:r>
            <a:r>
              <a:rPr kumimoji="0" lang="cs-CZ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ŘT MZ a KKOČ provádí kontroly, v případě porušování pravidel bude OČM vypnuto v CRS.   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9293469" y="1389699"/>
            <a:ext cx="2755548" cy="1323439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izované navyšování vakcín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věten 	19.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ýden 23 4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2. týden 33 93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rven	26. týden 33 93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Objekt 11"/>
          <p:cNvGraphicFramePr>
            <a:graphicFrameLocks noChangeAspect="1"/>
          </p:cNvGraphicFramePr>
          <p:nvPr>
            <p:extLst/>
          </p:nvPr>
        </p:nvGraphicFramePr>
        <p:xfrm>
          <a:off x="123316" y="1384890"/>
          <a:ext cx="8712954" cy="3782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List" r:id="rId6" imgW="13430402" imgH="5410058" progId="Excel.Sheet.12">
                  <p:embed/>
                </p:oleObj>
              </mc:Choice>
              <mc:Fallback>
                <p:oleObj name="List" r:id="rId6" imgW="13430402" imgH="5410058" progId="Excel.Sheet.12">
                  <p:embed/>
                  <p:pic>
                    <p:nvPicPr>
                      <p:cNvPr id="12" name="Objekt 1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3316" y="1384890"/>
                        <a:ext cx="8712954" cy="3782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7620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EC0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Skupina 1"/>
          <p:cNvGrpSpPr/>
          <p:nvPr/>
        </p:nvGrpSpPr>
        <p:grpSpPr>
          <a:xfrm>
            <a:off x="123316" y="67376"/>
            <a:ext cx="11925701" cy="1256135"/>
            <a:chOff x="123316" y="67376"/>
            <a:chExt cx="11925701" cy="1256135"/>
          </a:xfrm>
        </p:grpSpPr>
        <p:sp>
          <p:nvSpPr>
            <p:cNvPr id="4" name="Zaoblený obdélník 3"/>
            <p:cNvSpPr/>
            <p:nvPr/>
          </p:nvSpPr>
          <p:spPr>
            <a:xfrm>
              <a:off x="123316" y="67376"/>
              <a:ext cx="11925701" cy="1212783"/>
            </a:xfrm>
            <a:prstGeom prst="roundRect">
              <a:avLst/>
            </a:prstGeom>
            <a:solidFill>
              <a:srgbClr val="00538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Nadpis 1">
              <a:extLst>
                <a:ext uri="{FF2B5EF4-FFF2-40B4-BE49-F238E27FC236}">
                  <a16:creationId xmlns:a16="http://schemas.microsoft.com/office/drawing/2014/main" id="{50444CAE-0E11-4B1D-AD1D-5792ADA594DB}"/>
                </a:ext>
              </a:extLst>
            </p:cNvPr>
            <p:cNvSpPr txBox="1">
              <a:spLocks/>
            </p:cNvSpPr>
            <p:nvPr/>
          </p:nvSpPr>
          <p:spPr>
            <a:xfrm>
              <a:off x="1461636" y="495636"/>
              <a:ext cx="10039295" cy="827875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4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uton Normal" panose="02000506080000020004" pitchFamily="2" charset="0"/>
                  <a:ea typeface="+mj-ea"/>
                  <a:cs typeface="+mj-cs"/>
                </a:rPr>
                <a:t>Rozdělení </a:t>
              </a:r>
              <a:r>
                <a:rPr kumimoji="0" lang="cs-CZ" sz="4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uton Normal" panose="02000506080000020004" pitchFamily="2" charset="0"/>
                  <a:ea typeface="+mj-ea"/>
                  <a:cs typeface="+mj-cs"/>
                </a:rPr>
                <a:t>vakcín pro </a:t>
              </a:r>
              <a:r>
                <a:rPr kumimoji="0" lang="cs-CZ" sz="4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uton Normal" panose="02000506080000020004" pitchFamily="2" charset="0"/>
                  <a:ea typeface="+mj-ea"/>
                  <a:cs typeface="+mj-cs"/>
                </a:rPr>
                <a:t>PL</a:t>
              </a:r>
              <a:endParaRPr kumimoji="0" lang="cs-CZ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uton Normal" panose="02000506080000020004" pitchFamily="2" charset="0"/>
                <a:ea typeface="+mj-ea"/>
                <a:cs typeface="+mj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uton Normal" panose="02000506080000020004" pitchFamily="2" charset="0"/>
                <a:ea typeface="+mj-ea"/>
                <a:cs typeface="+mj-cs"/>
              </a:endParaRPr>
            </a:p>
          </p:txBody>
        </p:sp>
        <p:pic>
          <p:nvPicPr>
            <p:cNvPr id="9" name="Obrázek 8">
              <a:extLst>
                <a:ext uri="{FF2B5EF4-FFF2-40B4-BE49-F238E27FC236}">
                  <a16:creationId xmlns:a16="http://schemas.microsoft.com/office/drawing/2014/main" id="{24572D85-A9D1-4A60-9210-67A538D236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862" y="452284"/>
              <a:ext cx="1524204" cy="368332"/>
            </a:xfrm>
            <a:prstGeom prst="rect">
              <a:avLst/>
            </a:prstGeom>
          </p:spPr>
        </p:pic>
      </p:grpSp>
      <p:sp>
        <p:nvSpPr>
          <p:cNvPr id="10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 txBox="1">
            <a:spLocks/>
          </p:cNvSpPr>
          <p:nvPr/>
        </p:nvSpPr>
        <p:spPr>
          <a:xfrm>
            <a:off x="381740" y="2"/>
            <a:ext cx="6933460" cy="57600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6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1" name="TextovéPole 10"/>
          <p:cNvSpPr txBox="1"/>
          <p:nvPr/>
        </p:nvSpPr>
        <p:spPr>
          <a:xfrm>
            <a:off x="123314" y="1480065"/>
            <a:ext cx="11614575" cy="203132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 PL jsou rozděleny všechny dodávky vakcíny MODERNA a VAXZEVRIA (ASTRAZENECA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lán dodávek v 18. týdnu do ZL s následným rozvozem pro PL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XZEVRIA a </a:t>
            </a:r>
            <a:r>
              <a:rPr kumimoji="0" lang="cs-CZ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nssen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tomto týdnu nedorazí dle plánu nedorazí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RNA: 3 800 dávek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lo doručeno pouze 8 000 dávek VAXZEVRIE, které měly být původně dodány již v minulém týdnu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123314" y="4428923"/>
            <a:ext cx="5694554" cy="369332"/>
          </a:xfrm>
          <a:prstGeom prst="rect">
            <a:avLst/>
          </a:prstGeom>
          <a:solidFill>
            <a:srgbClr val="00538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vakcín podaných PL od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 3. 2021 (registrační systém)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/>
          <p:cNvSpPr txBox="1"/>
          <p:nvPr/>
        </p:nvSpPr>
        <p:spPr>
          <a:xfrm>
            <a:off x="123314" y="6226081"/>
            <a:ext cx="4642994" cy="369332"/>
          </a:xfrm>
          <a:prstGeom prst="rect">
            <a:avLst/>
          </a:prstGeom>
          <a:solidFill>
            <a:srgbClr val="00538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vakcín podaných PL od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. 1. 2021: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1 483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Objekt 11"/>
          <p:cNvGraphicFramePr>
            <a:graphicFrameLocks noChangeAspect="1"/>
          </p:cNvGraphicFramePr>
          <p:nvPr>
            <p:extLst/>
          </p:nvPr>
        </p:nvGraphicFramePr>
        <p:xfrm>
          <a:off x="123314" y="5637326"/>
          <a:ext cx="11614575" cy="3502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List" r:id="rId4" imgW="13249257" imgH="200179" progId="Excel.Sheet.12">
                  <p:embed/>
                </p:oleObj>
              </mc:Choice>
              <mc:Fallback>
                <p:oleObj name="List" r:id="rId4" imgW="13249257" imgH="200179" progId="Excel.Sheet.12">
                  <p:embed/>
                  <p:pic>
                    <p:nvPicPr>
                      <p:cNvPr id="12" name="Objekt 1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14" y="5637326"/>
                        <a:ext cx="11614575" cy="3502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kt 16"/>
          <p:cNvGraphicFramePr>
            <a:graphicFrameLocks noChangeAspect="1"/>
          </p:cNvGraphicFramePr>
          <p:nvPr>
            <p:extLst/>
          </p:nvPr>
        </p:nvGraphicFramePr>
        <p:xfrm>
          <a:off x="123314" y="4906229"/>
          <a:ext cx="11614575" cy="7310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List" r:id="rId6" imgW="13249257" imgH="961974" progId="Excel.Sheet.12">
                  <p:embed/>
                </p:oleObj>
              </mc:Choice>
              <mc:Fallback>
                <p:oleObj name="List" r:id="rId6" imgW="13249257" imgH="961974" progId="Excel.Sheet.12">
                  <p:embed/>
                  <p:pic>
                    <p:nvPicPr>
                      <p:cNvPr id="17" name="Objekt 16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3314" y="4906229"/>
                        <a:ext cx="11614575" cy="7310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21578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04304" y="1482811"/>
            <a:ext cx="6539368" cy="460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31811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tx1"/>
                </a:solidFill>
              </a:rPr>
              <a:t>6. Různé</a:t>
            </a:r>
            <a:endParaRPr lang="cs-CZ" dirty="0">
              <a:solidFill>
                <a:schemeClr val="tx1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912285" y="2060574"/>
            <a:ext cx="10512307" cy="4680793"/>
          </a:xfrm>
          <a:solidFill>
            <a:srgbClr val="F3FBA3"/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cs-CZ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800" b="1" dirty="0" smtClean="0"/>
          </a:p>
          <a:p>
            <a:pPr marL="0" indent="0"/>
            <a:endParaRPr lang="cs-CZ" sz="1800" b="1" dirty="0" smtClean="0"/>
          </a:p>
          <a:p>
            <a:pPr marL="0" indent="0"/>
            <a:endParaRPr lang="cs-CZ" sz="1800" b="1" dirty="0"/>
          </a:p>
          <a:p>
            <a:pPr marL="0" indent="0"/>
            <a:endParaRPr lang="cs-CZ" sz="1800" b="1" dirty="0" smtClean="0"/>
          </a:p>
          <a:p>
            <a:pPr marL="0" indent="0" algn="ctr"/>
            <a:r>
              <a:rPr lang="cs-CZ" sz="2400" b="1" dirty="0" smtClean="0">
                <a:solidFill>
                  <a:schemeClr val="accent2">
                    <a:lumMod val="75000"/>
                  </a:schemeClr>
                </a:solidFill>
              </a:rPr>
              <a:t>Dotazy?</a:t>
            </a:r>
            <a:endParaRPr lang="cs-CZ" sz="2400" b="1" dirty="0">
              <a:solidFill>
                <a:schemeClr val="accent2">
                  <a:lumMod val="75000"/>
                </a:schemeClr>
              </a:solidFill>
            </a:endParaRPr>
          </a:p>
          <a:p>
            <a:pPr marL="0" indent="0"/>
            <a:endParaRPr lang="cs-CZ" sz="1800" dirty="0" smtClean="0"/>
          </a:p>
          <a:p>
            <a:pPr marL="0" indent="0"/>
            <a:endParaRPr lang="cs-CZ" sz="1800" dirty="0" smtClean="0"/>
          </a:p>
          <a:p>
            <a:pPr marL="0" indent="0"/>
            <a:r>
              <a:rPr lang="cs-CZ" sz="1800" dirty="0" smtClean="0"/>
              <a:t>Příští zasedání:  </a:t>
            </a:r>
            <a:r>
              <a:rPr lang="cs-CZ" sz="1800" b="1" dirty="0" smtClean="0"/>
              <a:t>12. května 2021 </a:t>
            </a:r>
          </a:p>
          <a:p>
            <a:pPr marL="0" indent="0"/>
            <a:r>
              <a:rPr lang="cs-CZ" sz="1800" b="1" dirty="0" smtClean="0">
                <a:solidFill>
                  <a:srgbClr val="FF0000"/>
                </a:solidFill>
              </a:rPr>
              <a:t>Zahájení:  </a:t>
            </a:r>
            <a:r>
              <a:rPr lang="cs-CZ" sz="1800" dirty="0" smtClean="0"/>
              <a:t>v 11 hod.</a:t>
            </a:r>
          </a:p>
        </p:txBody>
      </p:sp>
    </p:spTree>
    <p:extLst>
      <p:ext uri="{BB962C8B-B14F-4D97-AF65-F5344CB8AC3E}">
        <p14:creationId xmlns:p14="http://schemas.microsoft.com/office/powerpoint/2010/main" val="295409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1005016" y="2001952"/>
            <a:ext cx="10313773" cy="3416320"/>
          </a:xfrm>
          <a:prstGeom prst="rect">
            <a:avLst/>
          </a:prstGeom>
          <a:solidFill>
            <a:srgbClr val="FFFFCC"/>
          </a:solidFill>
        </p:spPr>
        <p:txBody>
          <a:bodyPr wrap="square">
            <a:spAutoFit/>
          </a:bodyPr>
          <a:lstStyle/>
          <a:p>
            <a:r>
              <a:rPr lang="cs-CZ" b="1" u="sng" dirty="0">
                <a:solidFill>
                  <a:srgbClr val="FF0000"/>
                </a:solidFill>
                <a:latin typeface="Roboto"/>
                <a:hlinkClick r:id="rId2"/>
              </a:rPr>
              <a:t>Usnesení č. 433</a:t>
            </a:r>
            <a:r>
              <a:rPr lang="cs-CZ" dirty="0">
                <a:solidFill>
                  <a:srgbClr val="000000"/>
                </a:solidFill>
                <a:latin typeface="Roboto"/>
              </a:rPr>
              <a:t>: </a:t>
            </a:r>
            <a:r>
              <a:rPr lang="cs-CZ" b="1" dirty="0">
                <a:solidFill>
                  <a:srgbClr val="000000"/>
                </a:solidFill>
                <a:latin typeface="Roboto"/>
              </a:rPr>
              <a:t>Mimořádná opatření Ministerstva zdravotnictví:</a:t>
            </a:r>
          </a:p>
          <a:p>
            <a:r>
              <a:rPr lang="cs-CZ" u="sng" dirty="0" smtClean="0">
                <a:solidFill>
                  <a:srgbClr val="153B88"/>
                </a:solidFill>
                <a:latin typeface="Roboto"/>
                <a:hlinkClick r:id="rId3"/>
              </a:rPr>
              <a:t>1.mimořádné </a:t>
            </a:r>
            <a:r>
              <a:rPr lang="cs-CZ" u="sng" dirty="0">
                <a:solidFill>
                  <a:srgbClr val="153B88"/>
                </a:solidFill>
                <a:latin typeface="Roboto"/>
                <a:hlinkClick r:id="rId3"/>
              </a:rPr>
              <a:t>opatření</a:t>
            </a:r>
            <a:r>
              <a:rPr lang="cs-CZ" dirty="0">
                <a:solidFill>
                  <a:srgbClr val="000000"/>
                </a:solidFill>
                <a:latin typeface="Roboto"/>
              </a:rPr>
              <a:t>, kterým se omezuje provoz škol a vysokých škol s účinností od 10. května</a:t>
            </a:r>
          </a:p>
          <a:p>
            <a:r>
              <a:rPr lang="cs-CZ" u="sng" dirty="0" smtClean="0">
                <a:solidFill>
                  <a:srgbClr val="153B88"/>
                </a:solidFill>
                <a:latin typeface="Roboto"/>
                <a:hlinkClick r:id="rId4"/>
              </a:rPr>
              <a:t>2.změna </a:t>
            </a:r>
            <a:r>
              <a:rPr lang="cs-CZ" u="sng" dirty="0">
                <a:solidFill>
                  <a:srgbClr val="153B88"/>
                </a:solidFill>
                <a:latin typeface="Roboto"/>
                <a:hlinkClick r:id="rId4"/>
              </a:rPr>
              <a:t>mimořádného opatření</a:t>
            </a:r>
            <a:r>
              <a:rPr lang="cs-CZ" dirty="0">
                <a:solidFill>
                  <a:srgbClr val="000000"/>
                </a:solidFill>
                <a:latin typeface="Roboto"/>
              </a:rPr>
              <a:t>, kterým se stanovuje omezení maloobchodního prodeje zboží a služeb a poskytování služeb s účinností od 4. května</a:t>
            </a:r>
          </a:p>
          <a:p>
            <a:r>
              <a:rPr lang="cs-CZ" u="sng" dirty="0" smtClean="0">
                <a:solidFill>
                  <a:srgbClr val="D70019"/>
                </a:solidFill>
                <a:latin typeface="Roboto"/>
                <a:hlinkClick r:id="rId5"/>
              </a:rPr>
              <a:t>3. mimořádné </a:t>
            </a:r>
            <a:r>
              <a:rPr lang="cs-CZ" u="sng" dirty="0">
                <a:solidFill>
                  <a:srgbClr val="D70019"/>
                </a:solidFill>
                <a:latin typeface="Roboto"/>
                <a:hlinkClick r:id="rId5"/>
              </a:rPr>
              <a:t>opatření</a:t>
            </a:r>
            <a:r>
              <a:rPr lang="cs-CZ" dirty="0">
                <a:solidFill>
                  <a:srgbClr val="000000"/>
                </a:solidFill>
                <a:latin typeface="Roboto"/>
              </a:rPr>
              <a:t>, kterým se stanovuje omezení maloobchodního prodeje zboží a služeb a poskytování služeb s účinností od 10. května</a:t>
            </a:r>
          </a:p>
          <a:p>
            <a:r>
              <a:rPr lang="cs-CZ" u="sng" dirty="0" smtClean="0">
                <a:solidFill>
                  <a:srgbClr val="153B88"/>
                </a:solidFill>
                <a:latin typeface="Roboto"/>
                <a:hlinkClick r:id="rId6"/>
              </a:rPr>
              <a:t>4.změna </a:t>
            </a:r>
            <a:r>
              <a:rPr lang="cs-CZ" u="sng" dirty="0">
                <a:solidFill>
                  <a:srgbClr val="153B88"/>
                </a:solidFill>
                <a:latin typeface="Roboto"/>
                <a:hlinkClick r:id="rId6"/>
              </a:rPr>
              <a:t>mimořádného opatření</a:t>
            </a:r>
            <a:r>
              <a:rPr lang="cs-CZ" dirty="0">
                <a:solidFill>
                  <a:srgbClr val="000000"/>
                </a:solidFill>
                <a:latin typeface="Roboto"/>
              </a:rPr>
              <a:t>, kterým se omezuje provoz škol a vysokých škol s účinností od 4. května</a:t>
            </a:r>
          </a:p>
          <a:p>
            <a:r>
              <a:rPr lang="cs-CZ" u="sng" dirty="0" smtClean="0">
                <a:solidFill>
                  <a:srgbClr val="153B88"/>
                </a:solidFill>
                <a:latin typeface="Roboto"/>
                <a:hlinkClick r:id="rId7"/>
              </a:rPr>
              <a:t>5.změna </a:t>
            </a:r>
            <a:r>
              <a:rPr lang="cs-CZ" u="sng" dirty="0">
                <a:solidFill>
                  <a:srgbClr val="153B88"/>
                </a:solidFill>
                <a:latin typeface="Roboto"/>
                <a:hlinkClick r:id="rId7"/>
              </a:rPr>
              <a:t>mimořádného opatření</a:t>
            </a:r>
            <a:r>
              <a:rPr lang="cs-CZ" dirty="0">
                <a:solidFill>
                  <a:srgbClr val="000000"/>
                </a:solidFill>
                <a:latin typeface="Roboto"/>
              </a:rPr>
              <a:t>, kterým se stanovují podmínky testování studentů vysokých škol s účinností od 4. května</a:t>
            </a:r>
          </a:p>
          <a:p>
            <a:r>
              <a:rPr lang="cs-CZ" u="sng" dirty="0" smtClean="0">
                <a:solidFill>
                  <a:srgbClr val="153B88"/>
                </a:solidFill>
                <a:latin typeface="Roboto"/>
                <a:hlinkClick r:id="rId8"/>
              </a:rPr>
              <a:t>6.mimořádné </a:t>
            </a:r>
            <a:r>
              <a:rPr lang="cs-CZ" u="sng" dirty="0">
                <a:solidFill>
                  <a:srgbClr val="153B88"/>
                </a:solidFill>
                <a:latin typeface="Roboto"/>
                <a:hlinkClick r:id="rId8"/>
              </a:rPr>
              <a:t>opatření</a:t>
            </a:r>
            <a:r>
              <a:rPr lang="cs-CZ" dirty="0">
                <a:solidFill>
                  <a:srgbClr val="000000"/>
                </a:solidFill>
                <a:latin typeface="Roboto"/>
              </a:rPr>
              <a:t>, kterým se zakazuje pohyb a pobyt bez ochranných prostředků dýchacích cest s účinností od 10. května</a:t>
            </a:r>
          </a:p>
        </p:txBody>
      </p:sp>
    </p:spTree>
    <p:extLst>
      <p:ext uri="{BB962C8B-B14F-4D97-AF65-F5344CB8AC3E}">
        <p14:creationId xmlns:p14="http://schemas.microsoft.com/office/powerpoint/2010/main" val="340252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242171" y="356163"/>
            <a:ext cx="7801548" cy="792088"/>
          </a:xfrm>
          <a:solidFill>
            <a:srgbClr val="F3FBA3"/>
          </a:solidFill>
        </p:spPr>
        <p:txBody>
          <a:bodyPr/>
          <a:lstStyle/>
          <a:p>
            <a:r>
              <a:rPr lang="cs-CZ" dirty="0" smtClean="0">
                <a:solidFill>
                  <a:schemeClr val="accent2"/>
                </a:solidFill>
              </a:rPr>
              <a:t>Informace o nasazení AČR na území ZK</a:t>
            </a:r>
            <a:br>
              <a:rPr lang="cs-CZ" dirty="0" smtClean="0">
                <a:solidFill>
                  <a:schemeClr val="accent2"/>
                </a:solidFill>
              </a:rPr>
            </a:br>
            <a:r>
              <a:rPr lang="cs-CZ" dirty="0" smtClean="0">
                <a:solidFill>
                  <a:schemeClr val="accent2"/>
                </a:solidFill>
              </a:rPr>
              <a:t>k 5. 5. 2021.</a:t>
            </a:r>
            <a:endParaRPr lang="cs-CZ" dirty="0">
              <a:solidFill>
                <a:schemeClr val="accent2"/>
              </a:solidFill>
            </a:endParaRPr>
          </a:p>
        </p:txBody>
      </p:sp>
      <p:sp>
        <p:nvSpPr>
          <p:cNvPr id="6" name="Nadpis 1"/>
          <p:cNvSpPr txBox="1">
            <a:spLocks/>
          </p:cNvSpPr>
          <p:nvPr/>
        </p:nvSpPr>
        <p:spPr bwMode="auto">
          <a:xfrm>
            <a:off x="153878" y="1382184"/>
            <a:ext cx="8964996" cy="576262"/>
          </a:xfrm>
          <a:prstGeom prst="rect">
            <a:avLst/>
          </a:prstGeom>
          <a:solidFill>
            <a:srgbClr val="F3FBA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9pPr>
          </a:lstStyle>
          <a:p>
            <a:r>
              <a:rPr lang="cs-CZ" sz="1600" kern="0" dirty="0">
                <a:solidFill>
                  <a:srgbClr val="333399"/>
                </a:solidFill>
                <a:latin typeface="Arial"/>
              </a:rPr>
              <a:t>POSÍLENÍ ZDRAVOTNICKÝCH ZAŘÍZENÍ A NEMOCNIC - "OPERACE ASISTENCE"</a:t>
            </a:r>
          </a:p>
        </p:txBody>
      </p:sp>
      <p:sp>
        <p:nvSpPr>
          <p:cNvPr id="7" name="Nadpis 1"/>
          <p:cNvSpPr txBox="1">
            <a:spLocks/>
          </p:cNvSpPr>
          <p:nvPr/>
        </p:nvSpPr>
        <p:spPr bwMode="auto">
          <a:xfrm>
            <a:off x="153878" y="3428802"/>
            <a:ext cx="8964996" cy="576262"/>
          </a:xfrm>
          <a:prstGeom prst="rect">
            <a:avLst/>
          </a:prstGeom>
          <a:solidFill>
            <a:srgbClr val="F3FBA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9pPr>
          </a:lstStyle>
          <a:p>
            <a:r>
              <a:rPr lang="cs-CZ" sz="1600" kern="0" dirty="0">
                <a:solidFill>
                  <a:srgbClr val="333399"/>
                </a:solidFill>
                <a:latin typeface="Arial"/>
              </a:rPr>
              <a:t>PODPORA ANTIGENNÍCH ODBĚROVÝCH CENTER "OPERACE - TESTOVÁNÍ"</a:t>
            </a:r>
          </a:p>
        </p:txBody>
      </p:sp>
      <p:graphicFrame>
        <p:nvGraphicFramePr>
          <p:cNvPr id="10" name="Tabulk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3268865"/>
              </p:ext>
            </p:extLst>
          </p:nvPr>
        </p:nvGraphicFramePr>
        <p:xfrm>
          <a:off x="153878" y="2075252"/>
          <a:ext cx="8964997" cy="11125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071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2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642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687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u="none" strike="noStrike" dirty="0"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u="none" strike="noStrike" kern="1200" dirty="0" smtClean="0">
                          <a:effectLst/>
                          <a:latin typeface="Calibri" panose="020F0502020204030204" pitchFamily="34" charset="0"/>
                        </a:rPr>
                        <a:t>Počet vojáků</a:t>
                      </a:r>
                      <a:endParaRPr lang="cs-CZ" sz="180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u="none" strike="noStrike" kern="1200" dirty="0">
                          <a:effectLst/>
                          <a:latin typeface="Calibri" panose="020F0502020204030204" pitchFamily="34" charset="0"/>
                        </a:rPr>
                        <a:t>Termín</a:t>
                      </a:r>
                      <a:endParaRPr lang="cs-CZ" sz="180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u="none" strike="noStrike" dirty="0" smtClean="0">
                          <a:effectLst/>
                          <a:latin typeface="Calibri" panose="020F0502020204030204" pitchFamily="34" charset="0"/>
                        </a:rPr>
                        <a:t>KNTB Zlín</a:t>
                      </a:r>
                      <a:endParaRPr lang="cs-CZ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 smtClean="0">
                          <a:latin typeface="Calibri" panose="020F0502020204030204" pitchFamily="34" charset="0"/>
                        </a:rPr>
                        <a:t>2</a:t>
                      </a:r>
                      <a:endParaRPr lang="cs-CZ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. 3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 30. 5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u="none" strike="noStrike" dirty="0" smtClean="0">
                          <a:effectLst/>
                          <a:latin typeface="Calibri" panose="020F0502020204030204" pitchFamily="34" charset="0"/>
                        </a:rPr>
                        <a:t>Nemocnice Vsetín</a:t>
                      </a:r>
                      <a:endParaRPr lang="cs-CZ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 smtClean="0">
                          <a:latin typeface="Calibri" panose="020F0502020204030204" pitchFamily="34" charset="0"/>
                        </a:rPr>
                        <a:t>3</a:t>
                      </a:r>
                      <a:endParaRPr lang="cs-CZ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 smtClean="0">
                          <a:latin typeface="Calibri" panose="020F0502020204030204" pitchFamily="34" charset="0"/>
                        </a:rPr>
                        <a:t>3. 5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</a:t>
                      </a:r>
                      <a:r>
                        <a:rPr lang="cs-CZ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4. 5. 2021</a:t>
                      </a:r>
                      <a:endParaRPr lang="cs-CZ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1" name="Tabulk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3783748"/>
              </p:ext>
            </p:extLst>
          </p:nvPr>
        </p:nvGraphicFramePr>
        <p:xfrm>
          <a:off x="153878" y="4370609"/>
          <a:ext cx="8964996" cy="7416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609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298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742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latin typeface="Calibri" panose="020F0502020204030204" pitchFamily="34" charset="0"/>
                        </a:rPr>
                        <a:t>Zdravotnické zařízení</a:t>
                      </a:r>
                      <a:endParaRPr lang="cs-CZ" sz="18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 smtClean="0">
                          <a:latin typeface="Calibri" panose="020F0502020204030204" pitchFamily="34" charset="0"/>
                        </a:rPr>
                        <a:t>Počet vojáků</a:t>
                      </a:r>
                      <a:endParaRPr lang="cs-CZ" sz="18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latin typeface="Calibri" panose="020F0502020204030204" pitchFamily="34" charset="0"/>
                        </a:rPr>
                        <a:t>Termín</a:t>
                      </a:r>
                      <a:endParaRPr lang="cs-CZ" sz="18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KNTB Zlín</a:t>
                      </a:r>
                      <a:endParaRPr lang="cs-CZ" sz="180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1 </a:t>
                      </a:r>
                      <a:r>
                        <a:rPr lang="cs-CZ" sz="1800" kern="1200" dirty="0" err="1" smtClean="0">
                          <a:latin typeface="Calibri" panose="020F0502020204030204" pitchFamily="34" charset="0"/>
                        </a:rPr>
                        <a:t>OdT</a:t>
                      </a:r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 (2 vojáci) </a:t>
                      </a:r>
                      <a:endParaRPr lang="cs-CZ" sz="18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 do 31. 5. 2021</a:t>
                      </a:r>
                      <a:endParaRPr lang="cs-CZ" sz="180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6603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223792" y="123395"/>
            <a:ext cx="11881320" cy="1066596"/>
          </a:xfrm>
        </p:spPr>
        <p:txBody>
          <a:bodyPr/>
          <a:lstStyle/>
          <a:p>
            <a:r>
              <a:rPr lang="cs-CZ" sz="1600" dirty="0">
                <a:solidFill>
                  <a:schemeClr val="tx1"/>
                </a:solidFill>
              </a:rPr>
              <a:t>Informace o aktuální EPI situaci </a:t>
            </a:r>
            <a:r>
              <a:rPr lang="cs-CZ" sz="1600" dirty="0" smtClean="0">
                <a:solidFill>
                  <a:schemeClr val="tx1"/>
                </a:solidFill>
              </a:rPr>
              <a:t/>
            </a:r>
            <a:br>
              <a:rPr lang="cs-CZ" sz="1600" dirty="0" smtClean="0">
                <a:solidFill>
                  <a:schemeClr val="tx1"/>
                </a:solidFill>
              </a:rPr>
            </a:br>
            <a:r>
              <a:rPr lang="cs-CZ" sz="1600" dirty="0" smtClean="0"/>
              <a:t/>
            </a:r>
            <a:br>
              <a:rPr lang="cs-CZ" sz="1600" dirty="0" smtClean="0"/>
            </a:br>
            <a:r>
              <a:rPr lang="cs-CZ" sz="1600" dirty="0" smtClean="0"/>
              <a:t>MUDr. Eva Sedláčková, Ph.D.</a:t>
            </a:r>
            <a:r>
              <a:rPr lang="cs-CZ" dirty="0"/>
              <a:t/>
            </a:r>
            <a:br>
              <a:rPr lang="cs-CZ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7536160" y="548680"/>
            <a:ext cx="4536504" cy="641310"/>
          </a:xfrm>
          <a:solidFill>
            <a:srgbClr val="F3FBA3"/>
          </a:solidFill>
        </p:spPr>
        <p:txBody>
          <a:bodyPr/>
          <a:lstStyle/>
          <a:p>
            <a:pPr marL="457200" lvl="1" indent="0">
              <a:buNone/>
            </a:pPr>
            <a:r>
              <a:rPr lang="cs-CZ" sz="1200" b="1" dirty="0" smtClean="0">
                <a:solidFill>
                  <a:srgbClr val="FF0000"/>
                </a:solidFill>
              </a:rPr>
              <a:t>Řešené problémy území, predikce vývoje a opatření, Kontrolní činnost</a:t>
            </a:r>
          </a:p>
          <a:p>
            <a:pPr>
              <a:buFont typeface="Arial" panose="020B0604020202020204" pitchFamily="34" charset="0"/>
              <a:buChar char="•"/>
            </a:pPr>
            <a:endParaRPr lang="cs-CZ" sz="1600" b="1" dirty="0"/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33349"/>
            <a:ext cx="12192000" cy="2366586"/>
          </a:xfrm>
          <a:prstGeom prst="rect">
            <a:avLst/>
          </a:prstGeom>
        </p:spPr>
      </p:pic>
      <p:pic>
        <p:nvPicPr>
          <p:cNvPr id="5" name="Obráze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43293"/>
            <a:ext cx="12192000" cy="321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109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276" y="1937394"/>
            <a:ext cx="5198663" cy="3816350"/>
          </a:xfrm>
        </p:spPr>
      </p:pic>
      <p:pic>
        <p:nvPicPr>
          <p:cNvPr id="5" name="Obráze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9119" y="1937394"/>
            <a:ext cx="5229540" cy="381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370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285" y="1484312"/>
            <a:ext cx="10655300" cy="5213049"/>
          </a:xfrm>
        </p:spPr>
      </p:pic>
    </p:spTree>
    <p:extLst>
      <p:ext uri="{BB962C8B-B14F-4D97-AF65-F5344CB8AC3E}">
        <p14:creationId xmlns:p14="http://schemas.microsoft.com/office/powerpoint/2010/main" val="885896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285" y="1484312"/>
            <a:ext cx="10655299" cy="5105957"/>
          </a:xfrm>
        </p:spPr>
      </p:pic>
    </p:spTree>
    <p:extLst>
      <p:ext uri="{BB962C8B-B14F-4D97-AF65-F5344CB8AC3E}">
        <p14:creationId xmlns:p14="http://schemas.microsoft.com/office/powerpoint/2010/main" val="495699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heme/theme1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Výchozí návrh">
  <a:themeElements>
    <a:clrScheme name="Výchozí návrh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ýchozí návr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ýchozí návrh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7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9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45</TotalTime>
  <Words>2726</Words>
  <Application>Microsoft Office PowerPoint</Application>
  <PresentationFormat>Širokoúhlá obrazovka</PresentationFormat>
  <Paragraphs>600</Paragraphs>
  <Slides>38</Slides>
  <Notes>5</Notes>
  <HiddenSlides>0</HiddenSlides>
  <MMClips>0</MMClips>
  <ScaleCrop>false</ScaleCrop>
  <HeadingPairs>
    <vt:vector size="8" baseType="variant">
      <vt:variant>
        <vt:lpstr>Použitá písma</vt:lpstr>
      </vt:variant>
      <vt:variant>
        <vt:i4>9</vt:i4>
      </vt:variant>
      <vt:variant>
        <vt:lpstr>Motiv</vt:lpstr>
      </vt:variant>
      <vt:variant>
        <vt:i4>8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38</vt:i4>
      </vt:variant>
    </vt:vector>
  </HeadingPairs>
  <TitlesOfParts>
    <vt:vector size="56" baseType="lpstr">
      <vt:lpstr>Arial</vt:lpstr>
      <vt:lpstr>Arial (Základní text)</vt:lpstr>
      <vt:lpstr>Calibri</vt:lpstr>
      <vt:lpstr>Calibri Light</vt:lpstr>
      <vt:lpstr>Roboto</vt:lpstr>
      <vt:lpstr>Segoe UI</vt:lpstr>
      <vt:lpstr>Teuton Normal</vt:lpstr>
      <vt:lpstr>Times New Roman</vt:lpstr>
      <vt:lpstr>Wingdings</vt:lpstr>
      <vt:lpstr>Motiv Office</vt:lpstr>
      <vt:lpstr>Výchozí návrh</vt:lpstr>
      <vt:lpstr>4_Motiv Office</vt:lpstr>
      <vt:lpstr>12_Motiv Office</vt:lpstr>
      <vt:lpstr>1_Motiv Office</vt:lpstr>
      <vt:lpstr>2_Motiv Office</vt:lpstr>
      <vt:lpstr>3_Motiv Office</vt:lpstr>
      <vt:lpstr>5_Motiv Office</vt:lpstr>
      <vt:lpstr>List</vt:lpstr>
      <vt:lpstr> 18. porada hejtmana  se starosty ORP ZK    Zlín, 11:00 h;  5. května 2021 místnost 1120 Ing. Robert Pekaj tajemník KŠ ZK   </vt:lpstr>
      <vt:lpstr>Program jednání:</vt:lpstr>
      <vt:lpstr>Úvod:</vt:lpstr>
      <vt:lpstr>Prezentace aplikace PowerPoint</vt:lpstr>
      <vt:lpstr>Informace o nasazení AČR na území ZK k 5. 5. 2021.</vt:lpstr>
      <vt:lpstr>Informace o aktuální EPI situaci   MUDr. Eva Sedláčková, Ph.D. 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7 denní počet nových případů (na 100 000 obyv.) v okresech</vt:lpstr>
      <vt:lpstr>Nové scénáře dlouhodobých simulací (z 3. 4. 2021): Zlínský kraj</vt:lpstr>
      <vt:lpstr>Predikce ve čtyřech scénářích: Zlínský kraj</vt:lpstr>
      <vt:lpstr>Prezentace aplikace PowerPoint</vt:lpstr>
      <vt:lpstr>Nově diagnostikovaní symptomatičtí pacienti za 7 dní na 100 000 obyvatel:  srovnání krajů k 1.5.</vt:lpstr>
      <vt:lpstr>Zátěž regionů ve vzájemném srovnání krajů k 3.5.</vt:lpstr>
      <vt:lpstr>Informace ředitele KŘ policie ZK</vt:lpstr>
      <vt:lpstr>Prezentace aplikace PowerPoint</vt:lpstr>
      <vt:lpstr>Prezentace aplikace PowerPoint</vt:lpstr>
      <vt:lpstr>Predikovaný počet aktuálně hospitalizovaných na JIP</vt:lpstr>
      <vt:lpstr>Národní dispečink lůžkové péče</vt:lpstr>
      <vt:lpstr>Národní dispečink lůžkové péče</vt:lpstr>
      <vt:lpstr> Zařízení – 32  Klienti – 16 Pracovníci – 19 Úmrtí – 233 </vt:lpstr>
      <vt:lpstr>Prezentace aplikace PowerPoint</vt:lpstr>
      <vt:lpstr>Prezentace aplikace PowerPoint</vt:lpstr>
      <vt:lpstr>Vakcinace podle věku: Zlínský kraj</vt:lpstr>
      <vt:lpstr>Očkování ve Zlínském kraji </vt:lpstr>
      <vt:lpstr>Očkovací strategie Zlínského kraje Počty osob před závorou </vt:lpstr>
      <vt:lpstr>Prezentace aplikace PowerPoint</vt:lpstr>
      <vt:lpstr>Prezentace aplikace PowerPoint</vt:lpstr>
      <vt:lpstr>Prezentace aplikace PowerPoint</vt:lpstr>
      <vt:lpstr>6. Různé</vt:lpstr>
    </vt:vector>
  </TitlesOfParts>
  <Company>Krajský úřad Zlínského kraj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6. porada hejtmana  se starosty ORP ZK    Zlín, 11:00 h;  21. dubna 2021 místnost 1120 Ing. Robert Pekaj tajemník KŠ ZK</dc:title>
  <dc:creator>Pekaj Robert</dc:creator>
  <cp:lastModifiedBy>Pekaj Robert</cp:lastModifiedBy>
  <cp:revision>68</cp:revision>
  <cp:lastPrinted>2021-04-28T08:26:23Z</cp:lastPrinted>
  <dcterms:created xsi:type="dcterms:W3CDTF">2021-04-21T08:36:14Z</dcterms:created>
  <dcterms:modified xsi:type="dcterms:W3CDTF">2021-05-05T08:33:24Z</dcterms:modified>
</cp:coreProperties>
</file>